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50" r:id="rId1"/>
  </p:sldMasterIdLst>
  <p:notesMasterIdLst>
    <p:notesMasterId r:id="rId24"/>
  </p:notesMasterIdLst>
  <p:sldIdLst>
    <p:sldId id="258" r:id="rId2"/>
    <p:sldId id="261" r:id="rId3"/>
    <p:sldId id="282" r:id="rId4"/>
    <p:sldId id="279" r:id="rId5"/>
    <p:sldId id="277" r:id="rId6"/>
    <p:sldId id="293" r:id="rId7"/>
    <p:sldId id="278" r:id="rId8"/>
    <p:sldId id="284" r:id="rId9"/>
    <p:sldId id="286" r:id="rId10"/>
    <p:sldId id="288" r:id="rId11"/>
    <p:sldId id="289" r:id="rId12"/>
    <p:sldId id="287" r:id="rId13"/>
    <p:sldId id="290" r:id="rId14"/>
    <p:sldId id="291" r:id="rId15"/>
    <p:sldId id="292" r:id="rId16"/>
    <p:sldId id="272" r:id="rId17"/>
    <p:sldId id="281" r:id="rId18"/>
    <p:sldId id="275" r:id="rId19"/>
    <p:sldId id="294" r:id="rId20"/>
    <p:sldId id="285" r:id="rId21"/>
    <p:sldId id="283" r:id="rId22"/>
    <p:sldId id="269" r:id="rId23"/>
  </p:sldIdLst>
  <p:sldSz cx="12192000" cy="6858000"/>
  <p:notesSz cx="6858000" cy="9144000"/>
  <p:embeddedFontLst>
    <p:embeddedFont>
      <p:font typeface="Trebuchet MS" panose="020B0603020202020204" pitchFamily="34" charset="0"/>
      <p:regular r:id="rId25"/>
      <p:bold r:id="rId26"/>
      <p:italic r:id="rId27"/>
      <p:boldItalic r:id="rId28"/>
    </p:embeddedFont>
    <p:embeddedFont>
      <p:font typeface="Calibri" panose="020F0502020204030204" pitchFamily="34" charset="0"/>
      <p:regular r:id="rId29"/>
      <p:bold r:id="rId30"/>
      <p:italic r:id="rId31"/>
      <p:boldItalic r:id="rId32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pos="1141" userDrawn="1">
          <p15:clr>
            <a:srgbClr val="A4A3A4"/>
          </p15:clr>
        </p15:guide>
        <p15:guide id="2" orient="horz" pos="48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5AEA"/>
    <a:srgbClr val="3399FF"/>
    <a:srgbClr val="34E7B5"/>
    <a:srgbClr val="2424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726" autoAdjust="0"/>
    <p:restoredTop sz="94674"/>
  </p:normalViewPr>
  <p:slideViewPr>
    <p:cSldViewPr snapToGrid="0" snapToObjects="1">
      <p:cViewPr varScale="1">
        <p:scale>
          <a:sx n="113" d="100"/>
          <a:sy n="113" d="100"/>
        </p:scale>
        <p:origin x="-384" y="-108"/>
      </p:cViewPr>
      <p:guideLst>
        <p:guide orient="horz" pos="482"/>
        <p:guide pos="114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8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4.fntdata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78E6A3-EF07-4DB4-BE7E-AD5F2C000F07}" type="doc">
      <dgm:prSet loTypeId="urn:microsoft.com/office/officeart/2005/8/layout/vList6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66F657C8-82CB-4FFC-B147-9223C64EE709}">
      <dgm:prSet phldrT="[Текст]" custT="1"/>
      <dgm:spPr/>
      <dgm:t>
        <a:bodyPr/>
        <a:lstStyle/>
        <a:p>
          <a:r>
            <a:rPr lang="ru-RU" sz="2000" dirty="0" smtClean="0"/>
            <a:t>Применение «коэффициента безводности» при оказании государственной поддержки</a:t>
          </a:r>
          <a:br>
            <a:rPr lang="ru-RU" sz="2000" dirty="0" smtClean="0"/>
          </a:br>
          <a:r>
            <a:rPr lang="ru-RU" sz="2000" dirty="0" smtClean="0"/>
            <a:t>(действующая в </a:t>
          </a:r>
          <a:r>
            <a:rPr lang="ru-RU" sz="2000" dirty="0" err="1" smtClean="0"/>
            <a:t>н.в</a:t>
          </a:r>
          <a:r>
            <a:rPr lang="ru-RU" sz="2000" dirty="0" smtClean="0"/>
            <a:t>. мера)</a:t>
          </a:r>
          <a:endParaRPr lang="ru-RU" sz="2000" dirty="0"/>
        </a:p>
      </dgm:t>
    </dgm:pt>
    <dgm:pt modelId="{7D3AE469-67CD-4BA2-8260-D53EB798D8F0}" type="parTrans" cxnId="{31387880-45AB-4560-B535-3F886D39EA24}">
      <dgm:prSet/>
      <dgm:spPr/>
      <dgm:t>
        <a:bodyPr/>
        <a:lstStyle/>
        <a:p>
          <a:endParaRPr lang="ru-RU" sz="2000"/>
        </a:p>
      </dgm:t>
    </dgm:pt>
    <dgm:pt modelId="{745CAF4B-2B8E-4709-8A24-6A9C5505AD85}" type="sibTrans" cxnId="{31387880-45AB-4560-B535-3F886D39EA24}">
      <dgm:prSet/>
      <dgm:spPr/>
      <dgm:t>
        <a:bodyPr/>
        <a:lstStyle/>
        <a:p>
          <a:endParaRPr lang="ru-RU" sz="2000"/>
        </a:p>
      </dgm:t>
    </dgm:pt>
    <dgm:pt modelId="{339E503A-1657-4D6C-BEF8-4AF5FED54E13}">
      <dgm:prSet phldrT="[Текст]" custT="1"/>
      <dgm:spPr/>
      <dgm:t>
        <a:bodyPr/>
        <a:lstStyle/>
        <a:p>
          <a:r>
            <a:rPr lang="ru-RU" sz="2000" dirty="0" smtClean="0"/>
            <a:t>Переобучение граждан с учётом специальностей, актуальных в климатических условия территории</a:t>
          </a:r>
          <a:endParaRPr lang="ru-RU" sz="2000" dirty="0"/>
        </a:p>
      </dgm:t>
    </dgm:pt>
    <dgm:pt modelId="{2098ACD1-9605-401C-B6E6-371F0647E9DB}" type="parTrans" cxnId="{75FD946D-6147-40EC-962F-FBA3E1B6E2B8}">
      <dgm:prSet/>
      <dgm:spPr/>
      <dgm:t>
        <a:bodyPr/>
        <a:lstStyle/>
        <a:p>
          <a:endParaRPr lang="ru-RU" sz="2000"/>
        </a:p>
      </dgm:t>
    </dgm:pt>
    <dgm:pt modelId="{FE43CB90-A6EC-422D-8D44-CD023F0DD400}" type="sibTrans" cxnId="{75FD946D-6147-40EC-962F-FBA3E1B6E2B8}">
      <dgm:prSet/>
      <dgm:spPr/>
      <dgm:t>
        <a:bodyPr/>
        <a:lstStyle/>
        <a:p>
          <a:endParaRPr lang="ru-RU" sz="2000"/>
        </a:p>
      </dgm:t>
    </dgm:pt>
    <dgm:pt modelId="{0CDF25BD-7CC5-4B3A-94B1-B169018F5EAA}">
      <dgm:prSet phldrT="[Текст]" custT="1"/>
      <dgm:spPr/>
      <dgm:t>
        <a:bodyPr/>
        <a:lstStyle/>
        <a:p>
          <a:r>
            <a:rPr lang="ru-RU" sz="2000" dirty="0" smtClean="0"/>
            <a:t>Расширение направлений социального контракта с учётом географической специфики региона (климата, с/х производства, </a:t>
          </a:r>
          <a:r>
            <a:rPr lang="ru-RU" sz="2000" dirty="0" err="1" smtClean="0"/>
            <a:t>самозанятости</a:t>
          </a:r>
          <a:r>
            <a:rPr lang="ru-RU" sz="2000" dirty="0" smtClean="0"/>
            <a:t> населения)</a:t>
          </a:r>
          <a:endParaRPr lang="ru-RU" sz="2000" dirty="0"/>
        </a:p>
      </dgm:t>
    </dgm:pt>
    <dgm:pt modelId="{B4EA7CAA-3C0F-4BC4-BF9D-C3670EEA19AD}" type="parTrans" cxnId="{3E2DB154-5E8D-43A0-8680-89C779B51DCF}">
      <dgm:prSet/>
      <dgm:spPr/>
      <dgm:t>
        <a:bodyPr/>
        <a:lstStyle/>
        <a:p>
          <a:endParaRPr lang="ru-RU" sz="2000"/>
        </a:p>
      </dgm:t>
    </dgm:pt>
    <dgm:pt modelId="{F900BE47-098C-4044-B475-1D197ED1E7E7}" type="sibTrans" cxnId="{3E2DB154-5E8D-43A0-8680-89C779B51DCF}">
      <dgm:prSet/>
      <dgm:spPr/>
      <dgm:t>
        <a:bodyPr/>
        <a:lstStyle/>
        <a:p>
          <a:endParaRPr lang="ru-RU" sz="2000"/>
        </a:p>
      </dgm:t>
    </dgm:pt>
    <dgm:pt modelId="{9FB0EC51-4C37-4A8A-BD12-EDB8FCDC05B5}" type="pres">
      <dgm:prSet presAssocID="{7878E6A3-EF07-4DB4-BE7E-AD5F2C000F07}" presName="Name0" presStyleCnt="0">
        <dgm:presLayoutVars>
          <dgm:dir/>
          <dgm:animLvl val="lvl"/>
          <dgm:resizeHandles/>
        </dgm:presLayoutVars>
      </dgm:prSet>
      <dgm:spPr/>
    </dgm:pt>
    <dgm:pt modelId="{A94E1B6E-69C0-4A6C-8873-F4355C99DAD9}" type="pres">
      <dgm:prSet presAssocID="{66F657C8-82CB-4FFC-B147-9223C64EE709}" presName="linNode" presStyleCnt="0"/>
      <dgm:spPr/>
    </dgm:pt>
    <dgm:pt modelId="{7B24133A-D233-4EE5-AC0A-F53A92C2E34B}" type="pres">
      <dgm:prSet presAssocID="{66F657C8-82CB-4FFC-B147-9223C64EE709}" presName="parentShp" presStyleLbl="node1" presStyleIdx="0" presStyleCnt="3" custScaleX="2181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61FD59-7FB4-4F98-98CD-AD802FBF7834}" type="pres">
      <dgm:prSet presAssocID="{66F657C8-82CB-4FFC-B147-9223C64EE709}" presName="childShp" presStyleLbl="b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829D868-81F4-45DD-821B-765116B5640F}" type="pres">
      <dgm:prSet presAssocID="{745CAF4B-2B8E-4709-8A24-6A9C5505AD85}" presName="spacing" presStyleCnt="0"/>
      <dgm:spPr/>
    </dgm:pt>
    <dgm:pt modelId="{307569A3-A138-4085-9505-421FD4EADEF7}" type="pres">
      <dgm:prSet presAssocID="{339E503A-1657-4D6C-BEF8-4AF5FED54E13}" presName="linNode" presStyleCnt="0"/>
      <dgm:spPr/>
    </dgm:pt>
    <dgm:pt modelId="{6E69067D-AF72-4C76-8591-C457B6DA61B3}" type="pres">
      <dgm:prSet presAssocID="{339E503A-1657-4D6C-BEF8-4AF5FED54E13}" presName="parentShp" presStyleLbl="node1" presStyleIdx="1" presStyleCnt="3" custScaleX="2181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2EC5D22-3D9B-4C43-9DAD-8B447AB76A6A}" type="pres">
      <dgm:prSet presAssocID="{339E503A-1657-4D6C-BEF8-4AF5FED54E13}" presName="childShp" presStyleLbl="b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297514-6998-4AC4-8F76-D0FC8C07E773}" type="pres">
      <dgm:prSet presAssocID="{FE43CB90-A6EC-422D-8D44-CD023F0DD400}" presName="spacing" presStyleCnt="0"/>
      <dgm:spPr/>
    </dgm:pt>
    <dgm:pt modelId="{56DAACB0-38A8-439D-9A7C-DA7987DBB96D}" type="pres">
      <dgm:prSet presAssocID="{0CDF25BD-7CC5-4B3A-94B1-B169018F5EAA}" presName="linNode" presStyleCnt="0"/>
      <dgm:spPr/>
    </dgm:pt>
    <dgm:pt modelId="{259C4CAA-CD71-4F92-897C-3336E2410662}" type="pres">
      <dgm:prSet presAssocID="{0CDF25BD-7CC5-4B3A-94B1-B169018F5EAA}" presName="parentShp" presStyleLbl="node1" presStyleIdx="2" presStyleCnt="3" custScaleX="2181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9D51B5-22EA-4B3C-A72E-0763539C95EA}" type="pres">
      <dgm:prSet presAssocID="{0CDF25BD-7CC5-4B3A-94B1-B169018F5EAA}" presName="childShp" presStyleLbl="bgAccFollowNode1" presStyleIdx="2" presStyleCnt="3">
        <dgm:presLayoutVars>
          <dgm:bulletEnabled val="1"/>
        </dgm:presLayoutVars>
      </dgm:prSet>
      <dgm:spPr/>
    </dgm:pt>
  </dgm:ptLst>
  <dgm:cxnLst>
    <dgm:cxn modelId="{894641B2-C6D0-4CAD-B31B-E979B87B2661}" type="presOf" srcId="{7878E6A3-EF07-4DB4-BE7E-AD5F2C000F07}" destId="{9FB0EC51-4C37-4A8A-BD12-EDB8FCDC05B5}" srcOrd="0" destOrd="0" presId="urn:microsoft.com/office/officeart/2005/8/layout/vList6"/>
    <dgm:cxn modelId="{31387880-45AB-4560-B535-3F886D39EA24}" srcId="{7878E6A3-EF07-4DB4-BE7E-AD5F2C000F07}" destId="{66F657C8-82CB-4FFC-B147-9223C64EE709}" srcOrd="0" destOrd="0" parTransId="{7D3AE469-67CD-4BA2-8260-D53EB798D8F0}" sibTransId="{745CAF4B-2B8E-4709-8A24-6A9C5505AD85}"/>
    <dgm:cxn modelId="{7629DBC5-4AB7-4BB1-A97C-CB5E4BFCD410}" type="presOf" srcId="{66F657C8-82CB-4FFC-B147-9223C64EE709}" destId="{7B24133A-D233-4EE5-AC0A-F53A92C2E34B}" srcOrd="0" destOrd="0" presId="urn:microsoft.com/office/officeart/2005/8/layout/vList6"/>
    <dgm:cxn modelId="{75FD946D-6147-40EC-962F-FBA3E1B6E2B8}" srcId="{7878E6A3-EF07-4DB4-BE7E-AD5F2C000F07}" destId="{339E503A-1657-4D6C-BEF8-4AF5FED54E13}" srcOrd="1" destOrd="0" parTransId="{2098ACD1-9605-401C-B6E6-371F0647E9DB}" sibTransId="{FE43CB90-A6EC-422D-8D44-CD023F0DD400}"/>
    <dgm:cxn modelId="{6237C62C-E3F0-483A-A8C2-0A1F683456B5}" type="presOf" srcId="{0CDF25BD-7CC5-4B3A-94B1-B169018F5EAA}" destId="{259C4CAA-CD71-4F92-897C-3336E2410662}" srcOrd="0" destOrd="0" presId="urn:microsoft.com/office/officeart/2005/8/layout/vList6"/>
    <dgm:cxn modelId="{5A32ADB6-22CF-4801-BE07-D2904B18DD11}" type="presOf" srcId="{339E503A-1657-4D6C-BEF8-4AF5FED54E13}" destId="{6E69067D-AF72-4C76-8591-C457B6DA61B3}" srcOrd="0" destOrd="0" presId="urn:microsoft.com/office/officeart/2005/8/layout/vList6"/>
    <dgm:cxn modelId="{3E2DB154-5E8D-43A0-8680-89C779B51DCF}" srcId="{7878E6A3-EF07-4DB4-BE7E-AD5F2C000F07}" destId="{0CDF25BD-7CC5-4B3A-94B1-B169018F5EAA}" srcOrd="2" destOrd="0" parTransId="{B4EA7CAA-3C0F-4BC4-BF9D-C3670EEA19AD}" sibTransId="{F900BE47-098C-4044-B475-1D197ED1E7E7}"/>
    <dgm:cxn modelId="{ABF96D65-4CCD-4156-AA50-205DE021CE97}" type="presParOf" srcId="{9FB0EC51-4C37-4A8A-BD12-EDB8FCDC05B5}" destId="{A94E1B6E-69C0-4A6C-8873-F4355C99DAD9}" srcOrd="0" destOrd="0" presId="urn:microsoft.com/office/officeart/2005/8/layout/vList6"/>
    <dgm:cxn modelId="{76D7F344-F0A0-4A07-8B74-8398A6E32BA1}" type="presParOf" srcId="{A94E1B6E-69C0-4A6C-8873-F4355C99DAD9}" destId="{7B24133A-D233-4EE5-AC0A-F53A92C2E34B}" srcOrd="0" destOrd="0" presId="urn:microsoft.com/office/officeart/2005/8/layout/vList6"/>
    <dgm:cxn modelId="{62AE8CFF-3DA9-4094-818D-26FCAD51CAB6}" type="presParOf" srcId="{A94E1B6E-69C0-4A6C-8873-F4355C99DAD9}" destId="{D361FD59-7FB4-4F98-98CD-AD802FBF7834}" srcOrd="1" destOrd="0" presId="urn:microsoft.com/office/officeart/2005/8/layout/vList6"/>
    <dgm:cxn modelId="{40DD18DB-0817-4F62-B3EB-1502A3AD6002}" type="presParOf" srcId="{9FB0EC51-4C37-4A8A-BD12-EDB8FCDC05B5}" destId="{3829D868-81F4-45DD-821B-765116B5640F}" srcOrd="1" destOrd="0" presId="urn:microsoft.com/office/officeart/2005/8/layout/vList6"/>
    <dgm:cxn modelId="{64C9CE48-511B-45B9-B012-3302B8979F28}" type="presParOf" srcId="{9FB0EC51-4C37-4A8A-BD12-EDB8FCDC05B5}" destId="{307569A3-A138-4085-9505-421FD4EADEF7}" srcOrd="2" destOrd="0" presId="urn:microsoft.com/office/officeart/2005/8/layout/vList6"/>
    <dgm:cxn modelId="{E0BB2136-2256-41B5-9739-DE3ADCD8955E}" type="presParOf" srcId="{307569A3-A138-4085-9505-421FD4EADEF7}" destId="{6E69067D-AF72-4C76-8591-C457B6DA61B3}" srcOrd="0" destOrd="0" presId="urn:microsoft.com/office/officeart/2005/8/layout/vList6"/>
    <dgm:cxn modelId="{9EAB0568-5342-4D98-8FBE-8B881596CEC3}" type="presParOf" srcId="{307569A3-A138-4085-9505-421FD4EADEF7}" destId="{42EC5D22-3D9B-4C43-9DAD-8B447AB76A6A}" srcOrd="1" destOrd="0" presId="urn:microsoft.com/office/officeart/2005/8/layout/vList6"/>
    <dgm:cxn modelId="{437F01FF-A0A6-4337-A561-1069149D90D1}" type="presParOf" srcId="{9FB0EC51-4C37-4A8A-BD12-EDB8FCDC05B5}" destId="{80297514-6998-4AC4-8F76-D0FC8C07E773}" srcOrd="3" destOrd="0" presId="urn:microsoft.com/office/officeart/2005/8/layout/vList6"/>
    <dgm:cxn modelId="{EBFD5C1E-FE11-4ABE-9913-6785DF115BCF}" type="presParOf" srcId="{9FB0EC51-4C37-4A8A-BD12-EDB8FCDC05B5}" destId="{56DAACB0-38A8-439D-9A7C-DA7987DBB96D}" srcOrd="4" destOrd="0" presId="urn:microsoft.com/office/officeart/2005/8/layout/vList6"/>
    <dgm:cxn modelId="{6FB48C06-FB69-480E-AF97-8FB8F0B9E030}" type="presParOf" srcId="{56DAACB0-38A8-439D-9A7C-DA7987DBB96D}" destId="{259C4CAA-CD71-4F92-897C-3336E2410662}" srcOrd="0" destOrd="0" presId="urn:microsoft.com/office/officeart/2005/8/layout/vList6"/>
    <dgm:cxn modelId="{019A3CFC-24F4-4FF1-89EF-7387BBC573C7}" type="presParOf" srcId="{56DAACB0-38A8-439D-9A7C-DA7987DBB96D}" destId="{1C9D51B5-22EA-4B3C-A72E-0763539C95EA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1B9728A-3981-4213-896D-DA9548F1B7CA}" type="doc">
      <dgm:prSet loTypeId="urn:microsoft.com/office/officeart/2005/8/layout/hChevron3" loCatId="process" qsTypeId="urn:microsoft.com/office/officeart/2005/8/quickstyle/simple1" qsCatId="simple" csTypeId="urn:microsoft.com/office/officeart/2005/8/colors/accent1_3" csCatId="accent1" phldr="1"/>
      <dgm:spPr/>
    </dgm:pt>
    <dgm:pt modelId="{4BD4C4AF-81CD-437F-8FA8-2B898EC3505F}">
      <dgm:prSet phldrT="[Текст]"/>
      <dgm:spPr/>
      <dgm:t>
        <a:bodyPr/>
        <a:lstStyle/>
        <a:p>
          <a:r>
            <a:rPr lang="ru-RU" b="1" dirty="0" smtClean="0"/>
            <a:t>Сформировали</a:t>
          </a:r>
          <a:br>
            <a:rPr lang="ru-RU" b="1" dirty="0" smtClean="0"/>
          </a:br>
          <a:r>
            <a:rPr lang="en-US" b="1" dirty="0" smtClean="0"/>
            <a:t>DATASET</a:t>
          </a:r>
          <a:r>
            <a:rPr lang="ru-RU" b="1" dirty="0" smtClean="0"/>
            <a:t> и развернули его на сервере баз данных </a:t>
          </a:r>
          <a:endParaRPr lang="ru-RU" b="1" dirty="0"/>
        </a:p>
      </dgm:t>
    </dgm:pt>
    <dgm:pt modelId="{BF143521-C963-44C5-957C-6C0E0FE1FC27}" type="parTrans" cxnId="{F74E6076-E94C-48B4-A409-A4A749ED4793}">
      <dgm:prSet/>
      <dgm:spPr/>
      <dgm:t>
        <a:bodyPr/>
        <a:lstStyle/>
        <a:p>
          <a:endParaRPr lang="ru-RU"/>
        </a:p>
      </dgm:t>
    </dgm:pt>
    <dgm:pt modelId="{AB67E000-1B96-4D0C-B90C-528395CA2423}" type="sibTrans" cxnId="{F74E6076-E94C-48B4-A409-A4A749ED4793}">
      <dgm:prSet/>
      <dgm:spPr/>
      <dgm:t>
        <a:bodyPr/>
        <a:lstStyle/>
        <a:p>
          <a:endParaRPr lang="ru-RU"/>
        </a:p>
      </dgm:t>
    </dgm:pt>
    <dgm:pt modelId="{2652F022-1D34-4796-A0F3-D4E054755DB6}">
      <dgm:prSet phldrT="[Текст]" custT="1"/>
      <dgm:spPr/>
      <dgm:t>
        <a:bodyPr/>
        <a:lstStyle/>
        <a:p>
          <a:r>
            <a:rPr lang="ru-RU" sz="2800" b="1" dirty="0" smtClean="0"/>
            <a:t>Установили</a:t>
          </a:r>
          <a:br>
            <a:rPr lang="ru-RU" sz="2800" b="1" dirty="0" smtClean="0"/>
          </a:br>
          <a:r>
            <a:rPr lang="ru-RU" sz="2800" b="1" dirty="0" smtClean="0"/>
            <a:t>и настроили </a:t>
          </a:r>
          <a:r>
            <a:rPr lang="en-US" sz="2800" b="1" u="none" dirty="0" err="1" smtClean="0"/>
            <a:t>Metabase</a:t>
          </a:r>
          <a:endParaRPr lang="ru-RU" sz="2800" b="1" u="none" dirty="0"/>
        </a:p>
      </dgm:t>
    </dgm:pt>
    <dgm:pt modelId="{E243EC88-37E6-436C-8B43-4A3792F015E5}" type="parTrans" cxnId="{D7FBB750-057C-48AC-9FDD-E3DBCE5DA40B}">
      <dgm:prSet/>
      <dgm:spPr/>
      <dgm:t>
        <a:bodyPr/>
        <a:lstStyle/>
        <a:p>
          <a:endParaRPr lang="ru-RU"/>
        </a:p>
      </dgm:t>
    </dgm:pt>
    <dgm:pt modelId="{12DEB33D-C494-4F5C-B148-968998555D57}" type="sibTrans" cxnId="{D7FBB750-057C-48AC-9FDD-E3DBCE5DA40B}">
      <dgm:prSet/>
      <dgm:spPr/>
      <dgm:t>
        <a:bodyPr/>
        <a:lstStyle/>
        <a:p>
          <a:endParaRPr lang="ru-RU"/>
        </a:p>
      </dgm:t>
    </dgm:pt>
    <dgm:pt modelId="{DDB98210-088D-4DFB-A3B0-F407FD49A000}">
      <dgm:prSet phldrT="[Текст]" custT="1"/>
      <dgm:spPr/>
      <dgm:t>
        <a:bodyPr/>
        <a:lstStyle/>
        <a:p>
          <a:r>
            <a:rPr lang="ru-RU" sz="3200" b="1" dirty="0" smtClean="0">
              <a:solidFill>
                <a:schemeClr val="bg1"/>
              </a:solidFill>
              <a:effectLst/>
            </a:rPr>
            <a:t>Сделали «</a:t>
          </a:r>
          <a:r>
            <a:rPr lang="ru-RU" sz="3200" b="1" dirty="0" err="1" smtClean="0">
              <a:solidFill>
                <a:schemeClr val="bg1"/>
              </a:solidFill>
              <a:effectLst/>
            </a:rPr>
            <a:t>дашборд</a:t>
          </a:r>
          <a:r>
            <a:rPr lang="ru-RU" sz="3200" b="1" dirty="0" smtClean="0">
              <a:solidFill>
                <a:schemeClr val="bg1"/>
              </a:solidFill>
              <a:effectLst/>
            </a:rPr>
            <a:t>»</a:t>
          </a:r>
          <a:br>
            <a:rPr lang="ru-RU" sz="3200" b="1" dirty="0" smtClean="0">
              <a:solidFill>
                <a:schemeClr val="bg1"/>
              </a:solidFill>
              <a:effectLst/>
            </a:rPr>
          </a:br>
          <a:r>
            <a:rPr lang="ru-RU" sz="3200" b="1" dirty="0" smtClean="0">
              <a:solidFill>
                <a:schemeClr val="bg1"/>
              </a:solidFill>
              <a:effectLst/>
            </a:rPr>
            <a:t>в </a:t>
          </a:r>
          <a:r>
            <a:rPr lang="en-US" sz="3200" b="1" dirty="0" err="1" smtClean="0">
              <a:solidFill>
                <a:schemeClr val="bg1"/>
              </a:solidFill>
              <a:effectLst/>
            </a:rPr>
            <a:t>Metabase</a:t>
          </a:r>
          <a:endParaRPr lang="ru-RU" sz="3200" b="1" dirty="0">
            <a:solidFill>
              <a:schemeClr val="bg1"/>
            </a:solidFill>
            <a:effectLst/>
          </a:endParaRPr>
        </a:p>
      </dgm:t>
    </dgm:pt>
    <dgm:pt modelId="{33C902D5-0674-41C8-9B45-6C1866EA4CF2}" type="parTrans" cxnId="{8377285C-C2F7-4343-8E82-868F1E110BEC}">
      <dgm:prSet/>
      <dgm:spPr/>
      <dgm:t>
        <a:bodyPr/>
        <a:lstStyle/>
        <a:p>
          <a:endParaRPr lang="ru-RU"/>
        </a:p>
      </dgm:t>
    </dgm:pt>
    <dgm:pt modelId="{CBF8D6F6-CA04-4E15-9C54-8EA367B00A11}" type="sibTrans" cxnId="{8377285C-C2F7-4343-8E82-868F1E110BEC}">
      <dgm:prSet/>
      <dgm:spPr/>
      <dgm:t>
        <a:bodyPr/>
        <a:lstStyle/>
        <a:p>
          <a:endParaRPr lang="ru-RU"/>
        </a:p>
      </dgm:t>
    </dgm:pt>
    <dgm:pt modelId="{DFFC894F-DB27-42B1-A281-2FECDB880E0A}" type="pres">
      <dgm:prSet presAssocID="{B1B9728A-3981-4213-896D-DA9548F1B7CA}" presName="Name0" presStyleCnt="0">
        <dgm:presLayoutVars>
          <dgm:dir/>
          <dgm:resizeHandles val="exact"/>
        </dgm:presLayoutVars>
      </dgm:prSet>
      <dgm:spPr/>
    </dgm:pt>
    <dgm:pt modelId="{171C23F5-44BD-43D3-B028-37F27ECA6B7E}" type="pres">
      <dgm:prSet presAssocID="{4BD4C4AF-81CD-437F-8FA8-2B898EC3505F}" presName="parTxOnly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DDA156-BE3E-4A80-81FE-F0D4761CD699}" type="pres">
      <dgm:prSet presAssocID="{AB67E000-1B96-4D0C-B90C-528395CA2423}" presName="parSpace" presStyleCnt="0"/>
      <dgm:spPr/>
    </dgm:pt>
    <dgm:pt modelId="{2C62267F-E1B5-4F05-9082-2C4017B9B98C}" type="pres">
      <dgm:prSet presAssocID="{2652F022-1D34-4796-A0F3-D4E054755DB6}" presName="parTxOnly" presStyleLbl="node1" presStyleIdx="1" presStyleCnt="3" custLinFactNeighborX="1768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4EF9A5D-D4CA-4DA7-AB74-9450CCC894E8}" type="pres">
      <dgm:prSet presAssocID="{12DEB33D-C494-4F5C-B148-968998555D57}" presName="parSpace" presStyleCnt="0"/>
      <dgm:spPr/>
    </dgm:pt>
    <dgm:pt modelId="{589EE212-0A60-44F7-A1CC-7D3F7CDFCB2E}" type="pres">
      <dgm:prSet presAssocID="{DDB98210-088D-4DFB-A3B0-F407FD49A000}" presName="parTxOnly" presStyleLbl="node1" presStyleIdx="2" presStyleCnt="3" custLinFactNeighborX="150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D51AB7D-064D-4557-B7B0-BD8DD56158D5}" type="presOf" srcId="{DDB98210-088D-4DFB-A3B0-F407FD49A000}" destId="{589EE212-0A60-44F7-A1CC-7D3F7CDFCB2E}" srcOrd="0" destOrd="0" presId="urn:microsoft.com/office/officeart/2005/8/layout/hChevron3"/>
    <dgm:cxn modelId="{F74E6076-E94C-48B4-A409-A4A749ED4793}" srcId="{B1B9728A-3981-4213-896D-DA9548F1B7CA}" destId="{4BD4C4AF-81CD-437F-8FA8-2B898EC3505F}" srcOrd="0" destOrd="0" parTransId="{BF143521-C963-44C5-957C-6C0E0FE1FC27}" sibTransId="{AB67E000-1B96-4D0C-B90C-528395CA2423}"/>
    <dgm:cxn modelId="{8377285C-C2F7-4343-8E82-868F1E110BEC}" srcId="{B1B9728A-3981-4213-896D-DA9548F1B7CA}" destId="{DDB98210-088D-4DFB-A3B0-F407FD49A000}" srcOrd="2" destOrd="0" parTransId="{33C902D5-0674-41C8-9B45-6C1866EA4CF2}" sibTransId="{CBF8D6F6-CA04-4E15-9C54-8EA367B00A11}"/>
    <dgm:cxn modelId="{F770084F-E075-4987-BA68-B51C8E24A940}" type="presOf" srcId="{B1B9728A-3981-4213-896D-DA9548F1B7CA}" destId="{DFFC894F-DB27-42B1-A281-2FECDB880E0A}" srcOrd="0" destOrd="0" presId="urn:microsoft.com/office/officeart/2005/8/layout/hChevron3"/>
    <dgm:cxn modelId="{D76AF9DB-522C-47A6-88A4-E376C4C0570E}" type="presOf" srcId="{2652F022-1D34-4796-A0F3-D4E054755DB6}" destId="{2C62267F-E1B5-4F05-9082-2C4017B9B98C}" srcOrd="0" destOrd="0" presId="urn:microsoft.com/office/officeart/2005/8/layout/hChevron3"/>
    <dgm:cxn modelId="{4A4E13DC-7227-40EE-8327-CEEEA3B9927A}" type="presOf" srcId="{4BD4C4AF-81CD-437F-8FA8-2B898EC3505F}" destId="{171C23F5-44BD-43D3-B028-37F27ECA6B7E}" srcOrd="0" destOrd="0" presId="urn:microsoft.com/office/officeart/2005/8/layout/hChevron3"/>
    <dgm:cxn modelId="{D7FBB750-057C-48AC-9FDD-E3DBCE5DA40B}" srcId="{B1B9728A-3981-4213-896D-DA9548F1B7CA}" destId="{2652F022-1D34-4796-A0F3-D4E054755DB6}" srcOrd="1" destOrd="0" parTransId="{E243EC88-37E6-436C-8B43-4A3792F015E5}" sibTransId="{12DEB33D-C494-4F5C-B148-968998555D57}"/>
    <dgm:cxn modelId="{29384CBE-E8E8-4BE1-B02C-B710B15461B4}" type="presParOf" srcId="{DFFC894F-DB27-42B1-A281-2FECDB880E0A}" destId="{171C23F5-44BD-43D3-B028-37F27ECA6B7E}" srcOrd="0" destOrd="0" presId="urn:microsoft.com/office/officeart/2005/8/layout/hChevron3"/>
    <dgm:cxn modelId="{6AB0BB97-2BC4-4AD0-A519-7C3FFDC9006D}" type="presParOf" srcId="{DFFC894F-DB27-42B1-A281-2FECDB880E0A}" destId="{ADDDA156-BE3E-4A80-81FE-F0D4761CD699}" srcOrd="1" destOrd="0" presId="urn:microsoft.com/office/officeart/2005/8/layout/hChevron3"/>
    <dgm:cxn modelId="{B335FA38-DF5F-48EC-9C08-1219C0CB3D84}" type="presParOf" srcId="{DFFC894F-DB27-42B1-A281-2FECDB880E0A}" destId="{2C62267F-E1B5-4F05-9082-2C4017B9B98C}" srcOrd="2" destOrd="0" presId="urn:microsoft.com/office/officeart/2005/8/layout/hChevron3"/>
    <dgm:cxn modelId="{B57EAD6F-8ABD-4FB2-AA27-8DA10D7AF2B0}" type="presParOf" srcId="{DFFC894F-DB27-42B1-A281-2FECDB880E0A}" destId="{A4EF9A5D-D4CA-4DA7-AB74-9450CCC894E8}" srcOrd="3" destOrd="0" presId="urn:microsoft.com/office/officeart/2005/8/layout/hChevron3"/>
    <dgm:cxn modelId="{37D467D4-D6CD-42E0-B6D7-12E97E7CE40A}" type="presParOf" srcId="{DFFC894F-DB27-42B1-A281-2FECDB880E0A}" destId="{589EE212-0A60-44F7-A1CC-7D3F7CDFCB2E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1B9728A-3981-4213-896D-DA9548F1B7CA}" type="doc">
      <dgm:prSet loTypeId="urn:microsoft.com/office/officeart/2005/8/layout/hChevron3" loCatId="process" qsTypeId="urn:microsoft.com/office/officeart/2005/8/quickstyle/simple1" qsCatId="simple" csTypeId="urn:microsoft.com/office/officeart/2005/8/colors/accent1_3" csCatId="accent1" phldr="1"/>
      <dgm:spPr/>
    </dgm:pt>
    <dgm:pt modelId="{4BD4C4AF-81CD-437F-8FA8-2B898EC3505F}">
      <dgm:prSet phldrT="[Текст]"/>
      <dgm:spPr/>
      <dgm:t>
        <a:bodyPr/>
        <a:lstStyle/>
        <a:p>
          <a:r>
            <a:rPr lang="ru-RU" b="1" dirty="0" smtClean="0"/>
            <a:t>Сформировали</a:t>
          </a:r>
          <a:br>
            <a:rPr lang="ru-RU" b="1" dirty="0" smtClean="0"/>
          </a:br>
          <a:r>
            <a:rPr lang="en-US" b="1" dirty="0" smtClean="0"/>
            <a:t>DATASET</a:t>
          </a:r>
          <a:r>
            <a:rPr lang="ru-RU" b="1" dirty="0" smtClean="0"/>
            <a:t> и развернули его на сервере баз данных </a:t>
          </a:r>
          <a:endParaRPr lang="ru-RU" b="1" dirty="0"/>
        </a:p>
      </dgm:t>
    </dgm:pt>
    <dgm:pt modelId="{BF143521-C963-44C5-957C-6C0E0FE1FC27}" type="parTrans" cxnId="{F74E6076-E94C-48B4-A409-A4A749ED4793}">
      <dgm:prSet/>
      <dgm:spPr/>
      <dgm:t>
        <a:bodyPr/>
        <a:lstStyle/>
        <a:p>
          <a:endParaRPr lang="ru-RU"/>
        </a:p>
      </dgm:t>
    </dgm:pt>
    <dgm:pt modelId="{AB67E000-1B96-4D0C-B90C-528395CA2423}" type="sibTrans" cxnId="{F74E6076-E94C-48B4-A409-A4A749ED4793}">
      <dgm:prSet/>
      <dgm:spPr/>
      <dgm:t>
        <a:bodyPr/>
        <a:lstStyle/>
        <a:p>
          <a:endParaRPr lang="ru-RU"/>
        </a:p>
      </dgm:t>
    </dgm:pt>
    <dgm:pt modelId="{2652F022-1D34-4796-A0F3-D4E054755DB6}">
      <dgm:prSet phldrT="[Текст]" custT="1"/>
      <dgm:spPr/>
      <dgm:t>
        <a:bodyPr/>
        <a:lstStyle/>
        <a:p>
          <a:r>
            <a:rPr lang="ru-RU" sz="2800" b="1" dirty="0" smtClean="0"/>
            <a:t>Установили</a:t>
          </a:r>
          <a:br>
            <a:rPr lang="ru-RU" sz="2800" b="1" dirty="0" smtClean="0"/>
          </a:br>
          <a:r>
            <a:rPr lang="ru-RU" sz="2800" b="1" dirty="0" smtClean="0"/>
            <a:t>и настроили </a:t>
          </a:r>
          <a:r>
            <a:rPr lang="en-US" sz="2800" b="1" u="none" dirty="0" err="1" smtClean="0"/>
            <a:t>Metabase</a:t>
          </a:r>
          <a:endParaRPr lang="ru-RU" sz="2800" b="1" u="none" dirty="0"/>
        </a:p>
      </dgm:t>
    </dgm:pt>
    <dgm:pt modelId="{E243EC88-37E6-436C-8B43-4A3792F015E5}" type="parTrans" cxnId="{D7FBB750-057C-48AC-9FDD-E3DBCE5DA40B}">
      <dgm:prSet/>
      <dgm:spPr/>
      <dgm:t>
        <a:bodyPr/>
        <a:lstStyle/>
        <a:p>
          <a:endParaRPr lang="ru-RU"/>
        </a:p>
      </dgm:t>
    </dgm:pt>
    <dgm:pt modelId="{12DEB33D-C494-4F5C-B148-968998555D57}" type="sibTrans" cxnId="{D7FBB750-057C-48AC-9FDD-E3DBCE5DA40B}">
      <dgm:prSet/>
      <dgm:spPr/>
      <dgm:t>
        <a:bodyPr/>
        <a:lstStyle/>
        <a:p>
          <a:endParaRPr lang="ru-RU"/>
        </a:p>
      </dgm:t>
    </dgm:pt>
    <dgm:pt modelId="{DDB98210-088D-4DFB-A3B0-F407FD49A000}">
      <dgm:prSet phldrT="[Текст]" custT="1"/>
      <dgm:spPr/>
      <dgm:t>
        <a:bodyPr/>
        <a:lstStyle/>
        <a:p>
          <a:r>
            <a:rPr lang="ru-RU" sz="3200" b="1" dirty="0" smtClean="0">
              <a:solidFill>
                <a:schemeClr val="bg1"/>
              </a:solidFill>
              <a:effectLst/>
            </a:rPr>
            <a:t>Сделали «</a:t>
          </a:r>
          <a:r>
            <a:rPr lang="ru-RU" sz="3200" b="1" dirty="0" err="1" smtClean="0">
              <a:solidFill>
                <a:schemeClr val="bg1"/>
              </a:solidFill>
              <a:effectLst/>
            </a:rPr>
            <a:t>дашборд</a:t>
          </a:r>
          <a:r>
            <a:rPr lang="ru-RU" sz="3200" b="1" dirty="0" smtClean="0">
              <a:solidFill>
                <a:schemeClr val="bg1"/>
              </a:solidFill>
              <a:effectLst/>
            </a:rPr>
            <a:t>»</a:t>
          </a:r>
          <a:br>
            <a:rPr lang="ru-RU" sz="3200" b="1" dirty="0" smtClean="0">
              <a:solidFill>
                <a:schemeClr val="bg1"/>
              </a:solidFill>
              <a:effectLst/>
            </a:rPr>
          </a:br>
          <a:r>
            <a:rPr lang="ru-RU" sz="3200" b="1" dirty="0" smtClean="0">
              <a:solidFill>
                <a:schemeClr val="bg1"/>
              </a:solidFill>
              <a:effectLst/>
            </a:rPr>
            <a:t>в </a:t>
          </a:r>
          <a:r>
            <a:rPr lang="en-US" sz="3200" b="1" dirty="0" err="1" smtClean="0">
              <a:solidFill>
                <a:schemeClr val="bg1"/>
              </a:solidFill>
              <a:effectLst/>
            </a:rPr>
            <a:t>Metabase</a:t>
          </a:r>
          <a:endParaRPr lang="ru-RU" sz="3200" b="1" dirty="0">
            <a:solidFill>
              <a:schemeClr val="bg1"/>
            </a:solidFill>
            <a:effectLst/>
          </a:endParaRPr>
        </a:p>
      </dgm:t>
    </dgm:pt>
    <dgm:pt modelId="{33C902D5-0674-41C8-9B45-6C1866EA4CF2}" type="parTrans" cxnId="{8377285C-C2F7-4343-8E82-868F1E110BEC}">
      <dgm:prSet/>
      <dgm:spPr/>
      <dgm:t>
        <a:bodyPr/>
        <a:lstStyle/>
        <a:p>
          <a:endParaRPr lang="ru-RU"/>
        </a:p>
      </dgm:t>
    </dgm:pt>
    <dgm:pt modelId="{CBF8D6F6-CA04-4E15-9C54-8EA367B00A11}" type="sibTrans" cxnId="{8377285C-C2F7-4343-8E82-868F1E110BEC}">
      <dgm:prSet/>
      <dgm:spPr/>
      <dgm:t>
        <a:bodyPr/>
        <a:lstStyle/>
        <a:p>
          <a:endParaRPr lang="ru-RU"/>
        </a:p>
      </dgm:t>
    </dgm:pt>
    <dgm:pt modelId="{DFFC894F-DB27-42B1-A281-2FECDB880E0A}" type="pres">
      <dgm:prSet presAssocID="{B1B9728A-3981-4213-896D-DA9548F1B7CA}" presName="Name0" presStyleCnt="0">
        <dgm:presLayoutVars>
          <dgm:dir/>
          <dgm:resizeHandles val="exact"/>
        </dgm:presLayoutVars>
      </dgm:prSet>
      <dgm:spPr/>
    </dgm:pt>
    <dgm:pt modelId="{171C23F5-44BD-43D3-B028-37F27ECA6B7E}" type="pres">
      <dgm:prSet presAssocID="{4BD4C4AF-81CD-437F-8FA8-2B898EC3505F}" presName="parTxOnly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DDA156-BE3E-4A80-81FE-F0D4761CD699}" type="pres">
      <dgm:prSet presAssocID="{AB67E000-1B96-4D0C-B90C-528395CA2423}" presName="parSpace" presStyleCnt="0"/>
      <dgm:spPr/>
    </dgm:pt>
    <dgm:pt modelId="{2C62267F-E1B5-4F05-9082-2C4017B9B98C}" type="pres">
      <dgm:prSet presAssocID="{2652F022-1D34-4796-A0F3-D4E054755DB6}" presName="parTxOnly" presStyleLbl="node1" presStyleIdx="1" presStyleCnt="3" custLinFactNeighborX="1768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4EF9A5D-D4CA-4DA7-AB74-9450CCC894E8}" type="pres">
      <dgm:prSet presAssocID="{12DEB33D-C494-4F5C-B148-968998555D57}" presName="parSpace" presStyleCnt="0"/>
      <dgm:spPr/>
    </dgm:pt>
    <dgm:pt modelId="{589EE212-0A60-44F7-A1CC-7D3F7CDFCB2E}" type="pres">
      <dgm:prSet presAssocID="{DDB98210-088D-4DFB-A3B0-F407FD49A000}" presName="parTxOnly" presStyleLbl="node1" presStyleIdx="2" presStyleCnt="3" custLinFactNeighborX="-35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FC67CB1-08C6-413C-B368-5383D5EC38BF}" type="presOf" srcId="{4BD4C4AF-81CD-437F-8FA8-2B898EC3505F}" destId="{171C23F5-44BD-43D3-B028-37F27ECA6B7E}" srcOrd="0" destOrd="0" presId="urn:microsoft.com/office/officeart/2005/8/layout/hChevron3"/>
    <dgm:cxn modelId="{F81B7B91-D223-4340-BC3A-C9EB94D9A64C}" type="presOf" srcId="{DDB98210-088D-4DFB-A3B0-F407FD49A000}" destId="{589EE212-0A60-44F7-A1CC-7D3F7CDFCB2E}" srcOrd="0" destOrd="0" presId="urn:microsoft.com/office/officeart/2005/8/layout/hChevron3"/>
    <dgm:cxn modelId="{F74E6076-E94C-48B4-A409-A4A749ED4793}" srcId="{B1B9728A-3981-4213-896D-DA9548F1B7CA}" destId="{4BD4C4AF-81CD-437F-8FA8-2B898EC3505F}" srcOrd="0" destOrd="0" parTransId="{BF143521-C963-44C5-957C-6C0E0FE1FC27}" sibTransId="{AB67E000-1B96-4D0C-B90C-528395CA2423}"/>
    <dgm:cxn modelId="{8377285C-C2F7-4343-8E82-868F1E110BEC}" srcId="{B1B9728A-3981-4213-896D-DA9548F1B7CA}" destId="{DDB98210-088D-4DFB-A3B0-F407FD49A000}" srcOrd="2" destOrd="0" parTransId="{33C902D5-0674-41C8-9B45-6C1866EA4CF2}" sibTransId="{CBF8D6F6-CA04-4E15-9C54-8EA367B00A11}"/>
    <dgm:cxn modelId="{F6B40CFC-6105-4FB8-A473-3EA7CEC9FD06}" type="presOf" srcId="{2652F022-1D34-4796-A0F3-D4E054755DB6}" destId="{2C62267F-E1B5-4F05-9082-2C4017B9B98C}" srcOrd="0" destOrd="0" presId="urn:microsoft.com/office/officeart/2005/8/layout/hChevron3"/>
    <dgm:cxn modelId="{D4A8572A-26B4-4EE0-8D71-DCDC8389DD46}" type="presOf" srcId="{B1B9728A-3981-4213-896D-DA9548F1B7CA}" destId="{DFFC894F-DB27-42B1-A281-2FECDB880E0A}" srcOrd="0" destOrd="0" presId="urn:microsoft.com/office/officeart/2005/8/layout/hChevron3"/>
    <dgm:cxn modelId="{D7FBB750-057C-48AC-9FDD-E3DBCE5DA40B}" srcId="{B1B9728A-3981-4213-896D-DA9548F1B7CA}" destId="{2652F022-1D34-4796-A0F3-D4E054755DB6}" srcOrd="1" destOrd="0" parTransId="{E243EC88-37E6-436C-8B43-4A3792F015E5}" sibTransId="{12DEB33D-C494-4F5C-B148-968998555D57}"/>
    <dgm:cxn modelId="{457ACB91-12DD-4748-B183-A997E3E9C5F0}" type="presParOf" srcId="{DFFC894F-DB27-42B1-A281-2FECDB880E0A}" destId="{171C23F5-44BD-43D3-B028-37F27ECA6B7E}" srcOrd="0" destOrd="0" presId="urn:microsoft.com/office/officeart/2005/8/layout/hChevron3"/>
    <dgm:cxn modelId="{F7A321EE-6AA1-4D99-8CC1-C066F3117249}" type="presParOf" srcId="{DFFC894F-DB27-42B1-A281-2FECDB880E0A}" destId="{ADDDA156-BE3E-4A80-81FE-F0D4761CD699}" srcOrd="1" destOrd="0" presId="urn:microsoft.com/office/officeart/2005/8/layout/hChevron3"/>
    <dgm:cxn modelId="{9B742777-EABD-4CCF-88DA-01803BBCB9E5}" type="presParOf" srcId="{DFFC894F-DB27-42B1-A281-2FECDB880E0A}" destId="{2C62267F-E1B5-4F05-9082-2C4017B9B98C}" srcOrd="2" destOrd="0" presId="urn:microsoft.com/office/officeart/2005/8/layout/hChevron3"/>
    <dgm:cxn modelId="{91DB8842-5860-4BC5-ACE8-0FCB64D8ED97}" type="presParOf" srcId="{DFFC894F-DB27-42B1-A281-2FECDB880E0A}" destId="{A4EF9A5D-D4CA-4DA7-AB74-9450CCC894E8}" srcOrd="3" destOrd="0" presId="urn:microsoft.com/office/officeart/2005/8/layout/hChevron3"/>
    <dgm:cxn modelId="{6B7DEBB2-2D37-4613-818B-374470831E1F}" type="presParOf" srcId="{DFFC894F-DB27-42B1-A281-2FECDB880E0A}" destId="{589EE212-0A60-44F7-A1CC-7D3F7CDFCB2E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76A79F9-972D-43B6-93B6-6CB9180EDA89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C98F5C66-E57A-4A51-8EF7-A2770770807B}">
      <dgm:prSet phldrT="[Текст]"/>
      <dgm:spPr/>
      <dgm:t>
        <a:bodyPr/>
        <a:lstStyle/>
        <a:p>
          <a:r>
            <a:rPr lang="ru-RU" b="1" dirty="0" smtClean="0"/>
            <a:t>Увеличение доходов более чем в 1,5 раза</a:t>
          </a:r>
          <a:endParaRPr lang="ru-RU" b="1" dirty="0"/>
        </a:p>
      </dgm:t>
    </dgm:pt>
    <dgm:pt modelId="{288BB91A-1AB6-4D80-839E-AD879D4EC3F9}" type="parTrans" cxnId="{FD074F53-6280-4DEA-B449-CE1D30ABFE1B}">
      <dgm:prSet/>
      <dgm:spPr/>
      <dgm:t>
        <a:bodyPr/>
        <a:lstStyle/>
        <a:p>
          <a:endParaRPr lang="ru-RU" b="1"/>
        </a:p>
      </dgm:t>
    </dgm:pt>
    <dgm:pt modelId="{A9C4F95B-2D5E-4DA3-B719-EA7CEBAAE535}" type="sibTrans" cxnId="{FD074F53-6280-4DEA-B449-CE1D30ABFE1B}">
      <dgm:prSet/>
      <dgm:spPr/>
      <dgm:t>
        <a:bodyPr/>
        <a:lstStyle/>
        <a:p>
          <a:endParaRPr lang="ru-RU" b="1"/>
        </a:p>
      </dgm:t>
    </dgm:pt>
    <dgm:pt modelId="{3227CF76-88E7-49F6-8BEF-032969DB8D30}">
      <dgm:prSet phldrT="[Текст]"/>
      <dgm:spPr/>
      <dgm:t>
        <a:bodyPr/>
        <a:lstStyle/>
        <a:p>
          <a:r>
            <a:rPr lang="ru-RU" b="1" dirty="0" smtClean="0"/>
            <a:t>Повышение социальной ответственности</a:t>
          </a:r>
          <a:endParaRPr lang="ru-RU" b="1" dirty="0"/>
        </a:p>
      </dgm:t>
    </dgm:pt>
    <dgm:pt modelId="{35C18D77-384D-453A-9FA2-08B12DC73FDC}" type="parTrans" cxnId="{19C89FA9-F1EC-4B7F-8559-4CF12BF415DF}">
      <dgm:prSet/>
      <dgm:spPr/>
      <dgm:t>
        <a:bodyPr/>
        <a:lstStyle/>
        <a:p>
          <a:endParaRPr lang="ru-RU" b="1"/>
        </a:p>
      </dgm:t>
    </dgm:pt>
    <dgm:pt modelId="{80CE195A-3611-47F4-AF40-A5F86E9F85D0}" type="sibTrans" cxnId="{19C89FA9-F1EC-4B7F-8559-4CF12BF415DF}">
      <dgm:prSet/>
      <dgm:spPr/>
      <dgm:t>
        <a:bodyPr/>
        <a:lstStyle/>
        <a:p>
          <a:endParaRPr lang="ru-RU" b="1"/>
        </a:p>
      </dgm:t>
    </dgm:pt>
    <dgm:pt modelId="{64D0CED3-6805-41D2-9BD8-55ED2105F43E}">
      <dgm:prSet phldrT="[Текст]"/>
      <dgm:spPr/>
      <dgm:t>
        <a:bodyPr/>
        <a:lstStyle/>
        <a:p>
          <a:r>
            <a:rPr lang="ru-RU" b="1" dirty="0" smtClean="0"/>
            <a:t>Реализация трудового потенциала</a:t>
          </a:r>
          <a:endParaRPr lang="ru-RU" b="1" dirty="0"/>
        </a:p>
      </dgm:t>
    </dgm:pt>
    <dgm:pt modelId="{D8448BF6-9CAD-4027-BC51-E5F50ED5B9E3}" type="parTrans" cxnId="{CCA13F19-AD23-4C8B-89F0-16BB6A161DC4}">
      <dgm:prSet/>
      <dgm:spPr/>
      <dgm:t>
        <a:bodyPr/>
        <a:lstStyle/>
        <a:p>
          <a:endParaRPr lang="ru-RU" b="1"/>
        </a:p>
      </dgm:t>
    </dgm:pt>
    <dgm:pt modelId="{BCD0587B-91F1-4CA1-99D7-1D387CA1C113}" type="sibTrans" cxnId="{CCA13F19-AD23-4C8B-89F0-16BB6A161DC4}">
      <dgm:prSet/>
      <dgm:spPr/>
      <dgm:t>
        <a:bodyPr/>
        <a:lstStyle/>
        <a:p>
          <a:endParaRPr lang="ru-RU" b="1"/>
        </a:p>
      </dgm:t>
    </dgm:pt>
    <dgm:pt modelId="{90605CD2-EEBF-4CDB-93F0-18AE7117E43C}" type="pres">
      <dgm:prSet presAssocID="{976A79F9-972D-43B6-93B6-6CB9180EDA89}" presName="CompostProcess" presStyleCnt="0">
        <dgm:presLayoutVars>
          <dgm:dir/>
          <dgm:resizeHandles val="exact"/>
        </dgm:presLayoutVars>
      </dgm:prSet>
      <dgm:spPr/>
    </dgm:pt>
    <dgm:pt modelId="{52960FCA-344F-4B06-961F-234BA8AFC6AD}" type="pres">
      <dgm:prSet presAssocID="{976A79F9-972D-43B6-93B6-6CB9180EDA89}" presName="arrow" presStyleLbl="bgShp" presStyleIdx="0" presStyleCnt="1"/>
      <dgm:spPr>
        <a:solidFill>
          <a:schemeClr val="accent2">
            <a:lumMod val="75000"/>
          </a:schemeClr>
        </a:solidFill>
      </dgm:spPr>
    </dgm:pt>
    <dgm:pt modelId="{4DCC9F84-1B11-4605-A934-D043574B691C}" type="pres">
      <dgm:prSet presAssocID="{976A79F9-972D-43B6-93B6-6CB9180EDA89}" presName="linearProcess" presStyleCnt="0"/>
      <dgm:spPr/>
    </dgm:pt>
    <dgm:pt modelId="{54DB2CF1-508C-4D35-94D1-5E89F4242EEB}" type="pres">
      <dgm:prSet presAssocID="{C98F5C66-E57A-4A51-8EF7-A2770770807B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16E1EBE-9698-492D-BA4F-17C9BD249A9F}" type="pres">
      <dgm:prSet presAssocID="{A9C4F95B-2D5E-4DA3-B719-EA7CEBAAE535}" presName="sibTrans" presStyleCnt="0"/>
      <dgm:spPr/>
    </dgm:pt>
    <dgm:pt modelId="{DCC3F931-47CC-4EC6-B548-592FB56E2A85}" type="pres">
      <dgm:prSet presAssocID="{3227CF76-88E7-49F6-8BEF-032969DB8D30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B821F9-08C0-4245-B5CE-B97C5F2FFD4E}" type="pres">
      <dgm:prSet presAssocID="{80CE195A-3611-47F4-AF40-A5F86E9F85D0}" presName="sibTrans" presStyleCnt="0"/>
      <dgm:spPr/>
    </dgm:pt>
    <dgm:pt modelId="{55A81B75-6BCC-4572-91A7-CB4E4F9C91B1}" type="pres">
      <dgm:prSet presAssocID="{64D0CED3-6805-41D2-9BD8-55ED2105F43E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FE7D279-5B08-44BB-AF1E-DA7B8182B0A0}" type="presOf" srcId="{64D0CED3-6805-41D2-9BD8-55ED2105F43E}" destId="{55A81B75-6BCC-4572-91A7-CB4E4F9C91B1}" srcOrd="0" destOrd="0" presId="urn:microsoft.com/office/officeart/2005/8/layout/hProcess9"/>
    <dgm:cxn modelId="{19C89FA9-F1EC-4B7F-8559-4CF12BF415DF}" srcId="{976A79F9-972D-43B6-93B6-6CB9180EDA89}" destId="{3227CF76-88E7-49F6-8BEF-032969DB8D30}" srcOrd="1" destOrd="0" parTransId="{35C18D77-384D-453A-9FA2-08B12DC73FDC}" sibTransId="{80CE195A-3611-47F4-AF40-A5F86E9F85D0}"/>
    <dgm:cxn modelId="{93F60814-2C85-4878-AE10-70D233744022}" type="presOf" srcId="{C98F5C66-E57A-4A51-8EF7-A2770770807B}" destId="{54DB2CF1-508C-4D35-94D1-5E89F4242EEB}" srcOrd="0" destOrd="0" presId="urn:microsoft.com/office/officeart/2005/8/layout/hProcess9"/>
    <dgm:cxn modelId="{CCA13F19-AD23-4C8B-89F0-16BB6A161DC4}" srcId="{976A79F9-972D-43B6-93B6-6CB9180EDA89}" destId="{64D0CED3-6805-41D2-9BD8-55ED2105F43E}" srcOrd="2" destOrd="0" parTransId="{D8448BF6-9CAD-4027-BC51-E5F50ED5B9E3}" sibTransId="{BCD0587B-91F1-4CA1-99D7-1D387CA1C113}"/>
    <dgm:cxn modelId="{FD074F53-6280-4DEA-B449-CE1D30ABFE1B}" srcId="{976A79F9-972D-43B6-93B6-6CB9180EDA89}" destId="{C98F5C66-E57A-4A51-8EF7-A2770770807B}" srcOrd="0" destOrd="0" parTransId="{288BB91A-1AB6-4D80-839E-AD879D4EC3F9}" sibTransId="{A9C4F95B-2D5E-4DA3-B719-EA7CEBAAE535}"/>
    <dgm:cxn modelId="{BF9115A7-E1EA-40B7-85CD-4D8E181FB192}" type="presOf" srcId="{3227CF76-88E7-49F6-8BEF-032969DB8D30}" destId="{DCC3F931-47CC-4EC6-B548-592FB56E2A85}" srcOrd="0" destOrd="0" presId="urn:microsoft.com/office/officeart/2005/8/layout/hProcess9"/>
    <dgm:cxn modelId="{6C8B20EF-A2EE-4F71-A4E1-728875797876}" type="presOf" srcId="{976A79F9-972D-43B6-93B6-6CB9180EDA89}" destId="{90605CD2-EEBF-4CDB-93F0-18AE7117E43C}" srcOrd="0" destOrd="0" presId="urn:microsoft.com/office/officeart/2005/8/layout/hProcess9"/>
    <dgm:cxn modelId="{802337BD-D60C-47B0-8C46-CAF47C377652}" type="presParOf" srcId="{90605CD2-EEBF-4CDB-93F0-18AE7117E43C}" destId="{52960FCA-344F-4B06-961F-234BA8AFC6AD}" srcOrd="0" destOrd="0" presId="urn:microsoft.com/office/officeart/2005/8/layout/hProcess9"/>
    <dgm:cxn modelId="{AE94270A-BE2C-49C9-B9BE-9557A450C750}" type="presParOf" srcId="{90605CD2-EEBF-4CDB-93F0-18AE7117E43C}" destId="{4DCC9F84-1B11-4605-A934-D043574B691C}" srcOrd="1" destOrd="0" presId="urn:microsoft.com/office/officeart/2005/8/layout/hProcess9"/>
    <dgm:cxn modelId="{A9EF0B94-55A3-418C-8633-BCEF3931D251}" type="presParOf" srcId="{4DCC9F84-1B11-4605-A934-D043574B691C}" destId="{54DB2CF1-508C-4D35-94D1-5E89F4242EEB}" srcOrd="0" destOrd="0" presId="urn:microsoft.com/office/officeart/2005/8/layout/hProcess9"/>
    <dgm:cxn modelId="{C6DB5C9C-5540-4B8A-AB5E-72547421102D}" type="presParOf" srcId="{4DCC9F84-1B11-4605-A934-D043574B691C}" destId="{D16E1EBE-9698-492D-BA4F-17C9BD249A9F}" srcOrd="1" destOrd="0" presId="urn:microsoft.com/office/officeart/2005/8/layout/hProcess9"/>
    <dgm:cxn modelId="{CD6DCDE2-0135-462C-9AC8-61010BBA92FD}" type="presParOf" srcId="{4DCC9F84-1B11-4605-A934-D043574B691C}" destId="{DCC3F931-47CC-4EC6-B548-592FB56E2A85}" srcOrd="2" destOrd="0" presId="urn:microsoft.com/office/officeart/2005/8/layout/hProcess9"/>
    <dgm:cxn modelId="{C2832C9F-2DE6-4FCB-9861-20168723224B}" type="presParOf" srcId="{4DCC9F84-1B11-4605-A934-D043574B691C}" destId="{E6B821F9-08C0-4245-B5CE-B97C5F2FFD4E}" srcOrd="3" destOrd="0" presId="urn:microsoft.com/office/officeart/2005/8/layout/hProcess9"/>
    <dgm:cxn modelId="{4B4A2364-69D9-4692-B588-A619AC16EFEE}" type="presParOf" srcId="{4DCC9F84-1B11-4605-A934-D043574B691C}" destId="{55A81B75-6BCC-4572-91A7-CB4E4F9C91B1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61FD59-7FB4-4F98-98CD-AD802FBF7834}">
      <dsp:nvSpPr>
        <dsp:cNvPr id="0" name=""/>
        <dsp:cNvSpPr/>
      </dsp:nvSpPr>
      <dsp:spPr>
        <a:xfrm>
          <a:off x="4815355" y="0"/>
          <a:ext cx="3309937" cy="169333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24133A-D233-4EE5-AC0A-F53A92C2E34B}">
      <dsp:nvSpPr>
        <dsp:cNvPr id="0" name=""/>
        <dsp:cNvSpPr/>
      </dsp:nvSpPr>
      <dsp:spPr>
        <a:xfrm>
          <a:off x="2706" y="0"/>
          <a:ext cx="4812649" cy="169333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рименение «коэффициента безводности» при оказании государственной поддержки</a:t>
          </a:r>
          <a:br>
            <a:rPr lang="ru-RU" sz="2000" kern="1200" dirty="0" smtClean="0"/>
          </a:br>
          <a:r>
            <a:rPr lang="ru-RU" sz="2000" kern="1200" dirty="0" smtClean="0"/>
            <a:t>(действующая в </a:t>
          </a:r>
          <a:r>
            <a:rPr lang="ru-RU" sz="2000" kern="1200" dirty="0" err="1" smtClean="0"/>
            <a:t>н.в</a:t>
          </a:r>
          <a:r>
            <a:rPr lang="ru-RU" sz="2000" kern="1200" dirty="0" smtClean="0"/>
            <a:t>. мера)</a:t>
          </a:r>
          <a:endParaRPr lang="ru-RU" sz="2000" kern="1200" dirty="0"/>
        </a:p>
      </dsp:txBody>
      <dsp:txXfrm>
        <a:off x="85368" y="82662"/>
        <a:ext cx="4647325" cy="1528009"/>
      </dsp:txXfrm>
    </dsp:sp>
    <dsp:sp modelId="{42EC5D22-3D9B-4C43-9DAD-8B447AB76A6A}">
      <dsp:nvSpPr>
        <dsp:cNvPr id="0" name=""/>
        <dsp:cNvSpPr/>
      </dsp:nvSpPr>
      <dsp:spPr>
        <a:xfrm>
          <a:off x="4815355" y="1862666"/>
          <a:ext cx="3309937" cy="169333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tint val="40000"/>
            <a:alpha val="90000"/>
            <a:hueOff val="-424613"/>
            <a:satOff val="-37673"/>
            <a:lumOff val="-385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424613"/>
              <a:satOff val="-37673"/>
              <a:lumOff val="-38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69067D-AF72-4C76-8591-C457B6DA61B3}">
      <dsp:nvSpPr>
        <dsp:cNvPr id="0" name=""/>
        <dsp:cNvSpPr/>
      </dsp:nvSpPr>
      <dsp:spPr>
        <a:xfrm>
          <a:off x="2706" y="1862666"/>
          <a:ext cx="4812649" cy="1693333"/>
        </a:xfrm>
        <a:prstGeom prst="roundRect">
          <a:avLst/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ереобучение граждан с учётом специальностей, актуальных в климатических условия территории</a:t>
          </a:r>
          <a:endParaRPr lang="ru-RU" sz="2000" kern="1200" dirty="0"/>
        </a:p>
      </dsp:txBody>
      <dsp:txXfrm>
        <a:off x="85368" y="1945328"/>
        <a:ext cx="4647325" cy="1528009"/>
      </dsp:txXfrm>
    </dsp:sp>
    <dsp:sp modelId="{1C9D51B5-22EA-4B3C-A72E-0763539C95EA}">
      <dsp:nvSpPr>
        <dsp:cNvPr id="0" name=""/>
        <dsp:cNvSpPr/>
      </dsp:nvSpPr>
      <dsp:spPr>
        <a:xfrm>
          <a:off x="4815355" y="3725333"/>
          <a:ext cx="3309937" cy="169333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tint val="40000"/>
            <a:alpha val="90000"/>
            <a:hueOff val="-849226"/>
            <a:satOff val="-75346"/>
            <a:lumOff val="-769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849226"/>
              <a:satOff val="-75346"/>
              <a:lumOff val="-76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9C4CAA-CD71-4F92-897C-3336E2410662}">
      <dsp:nvSpPr>
        <dsp:cNvPr id="0" name=""/>
        <dsp:cNvSpPr/>
      </dsp:nvSpPr>
      <dsp:spPr>
        <a:xfrm>
          <a:off x="2706" y="3725333"/>
          <a:ext cx="4812649" cy="1693333"/>
        </a:xfrm>
        <a:prstGeom prst="roundRect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Расширение направлений социального контракта с учётом географической специфики региона (климата, с/х производства, </a:t>
          </a:r>
          <a:r>
            <a:rPr lang="ru-RU" sz="2000" kern="1200" dirty="0" err="1" smtClean="0"/>
            <a:t>самозанятости</a:t>
          </a:r>
          <a:r>
            <a:rPr lang="ru-RU" sz="2000" kern="1200" dirty="0" smtClean="0"/>
            <a:t> населения)</a:t>
          </a:r>
          <a:endParaRPr lang="ru-RU" sz="2000" kern="1200" dirty="0"/>
        </a:p>
      </dsp:txBody>
      <dsp:txXfrm>
        <a:off x="85368" y="3807995"/>
        <a:ext cx="4647325" cy="152800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1C23F5-44BD-43D3-B028-37F27ECA6B7E}">
      <dsp:nvSpPr>
        <dsp:cNvPr id="0" name=""/>
        <dsp:cNvSpPr/>
      </dsp:nvSpPr>
      <dsp:spPr>
        <a:xfrm>
          <a:off x="5199" y="0"/>
          <a:ext cx="4546597" cy="1439305"/>
        </a:xfrm>
        <a:prstGeom prst="homePlate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72009" rIns="36005" bIns="72009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kern="1200" dirty="0" smtClean="0"/>
            <a:t>Сформировали</a:t>
          </a:r>
          <a:br>
            <a:rPr lang="ru-RU" sz="2700" b="1" kern="1200" dirty="0" smtClean="0"/>
          </a:br>
          <a:r>
            <a:rPr lang="en-US" sz="2700" b="1" kern="1200" dirty="0" smtClean="0"/>
            <a:t>DATASET</a:t>
          </a:r>
          <a:r>
            <a:rPr lang="ru-RU" sz="2700" b="1" kern="1200" dirty="0" smtClean="0"/>
            <a:t> и развернули его на сервере баз данных </a:t>
          </a:r>
          <a:endParaRPr lang="ru-RU" sz="2700" b="1" kern="1200" dirty="0"/>
        </a:p>
      </dsp:txBody>
      <dsp:txXfrm>
        <a:off x="5199" y="0"/>
        <a:ext cx="4186771" cy="1439305"/>
      </dsp:txXfrm>
    </dsp:sp>
    <dsp:sp modelId="{2C62267F-E1B5-4F05-9082-2C4017B9B98C}">
      <dsp:nvSpPr>
        <dsp:cNvPr id="0" name=""/>
        <dsp:cNvSpPr/>
      </dsp:nvSpPr>
      <dsp:spPr>
        <a:xfrm>
          <a:off x="3803326" y="0"/>
          <a:ext cx="4546597" cy="1439305"/>
        </a:xfrm>
        <a:prstGeom prst="chevron">
          <a:avLst/>
        </a:prstGeom>
        <a:solidFill>
          <a:schemeClr val="accent1">
            <a:shade val="80000"/>
            <a:hueOff val="174641"/>
            <a:satOff val="-3128"/>
            <a:lumOff val="1329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74676" rIns="37338" bIns="7467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/>
            <a:t>Установили</a:t>
          </a:r>
          <a:br>
            <a:rPr lang="ru-RU" sz="2800" b="1" kern="1200" dirty="0" smtClean="0"/>
          </a:br>
          <a:r>
            <a:rPr lang="ru-RU" sz="2800" b="1" kern="1200" dirty="0" smtClean="0"/>
            <a:t>и настроили </a:t>
          </a:r>
          <a:r>
            <a:rPr lang="en-US" sz="2800" b="1" u="none" kern="1200" dirty="0" err="1" smtClean="0"/>
            <a:t>Metabase</a:t>
          </a:r>
          <a:endParaRPr lang="ru-RU" sz="2800" b="1" u="none" kern="1200" dirty="0"/>
        </a:p>
      </dsp:txBody>
      <dsp:txXfrm>
        <a:off x="4522979" y="0"/>
        <a:ext cx="3107292" cy="1439305"/>
      </dsp:txXfrm>
    </dsp:sp>
    <dsp:sp modelId="{589EE212-0A60-44F7-A1CC-7D3F7CDFCB2E}">
      <dsp:nvSpPr>
        <dsp:cNvPr id="0" name=""/>
        <dsp:cNvSpPr/>
      </dsp:nvSpPr>
      <dsp:spPr>
        <a:xfrm>
          <a:off x="7284954" y="0"/>
          <a:ext cx="4546597" cy="1439305"/>
        </a:xfrm>
        <a:prstGeom prst="chevron">
          <a:avLst/>
        </a:prstGeom>
        <a:solidFill>
          <a:schemeClr val="accent1">
            <a:shade val="80000"/>
            <a:hueOff val="349283"/>
            <a:satOff val="-6256"/>
            <a:lumOff val="265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85344" rIns="42672" bIns="8534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 smtClean="0">
              <a:solidFill>
                <a:schemeClr val="bg1"/>
              </a:solidFill>
              <a:effectLst/>
            </a:rPr>
            <a:t>Сделали «</a:t>
          </a:r>
          <a:r>
            <a:rPr lang="ru-RU" sz="3200" b="1" kern="1200" dirty="0" err="1" smtClean="0">
              <a:solidFill>
                <a:schemeClr val="bg1"/>
              </a:solidFill>
              <a:effectLst/>
            </a:rPr>
            <a:t>дашборд</a:t>
          </a:r>
          <a:r>
            <a:rPr lang="ru-RU" sz="3200" b="1" kern="1200" dirty="0" smtClean="0">
              <a:solidFill>
                <a:schemeClr val="bg1"/>
              </a:solidFill>
              <a:effectLst/>
            </a:rPr>
            <a:t>»</a:t>
          </a:r>
          <a:br>
            <a:rPr lang="ru-RU" sz="3200" b="1" kern="1200" dirty="0" smtClean="0">
              <a:solidFill>
                <a:schemeClr val="bg1"/>
              </a:solidFill>
              <a:effectLst/>
            </a:rPr>
          </a:br>
          <a:r>
            <a:rPr lang="ru-RU" sz="3200" b="1" kern="1200" dirty="0" smtClean="0">
              <a:solidFill>
                <a:schemeClr val="bg1"/>
              </a:solidFill>
              <a:effectLst/>
            </a:rPr>
            <a:t>в </a:t>
          </a:r>
          <a:r>
            <a:rPr lang="en-US" sz="3200" b="1" kern="1200" dirty="0" err="1" smtClean="0">
              <a:solidFill>
                <a:schemeClr val="bg1"/>
              </a:solidFill>
              <a:effectLst/>
            </a:rPr>
            <a:t>Metabase</a:t>
          </a:r>
          <a:endParaRPr lang="ru-RU" sz="3200" b="1" kern="1200" dirty="0">
            <a:solidFill>
              <a:schemeClr val="bg1"/>
            </a:solidFill>
            <a:effectLst/>
          </a:endParaRPr>
        </a:p>
      </dsp:txBody>
      <dsp:txXfrm>
        <a:off x="8004607" y="0"/>
        <a:ext cx="3107292" cy="143930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1C23F5-44BD-43D3-B028-37F27ECA6B7E}">
      <dsp:nvSpPr>
        <dsp:cNvPr id="0" name=""/>
        <dsp:cNvSpPr/>
      </dsp:nvSpPr>
      <dsp:spPr>
        <a:xfrm>
          <a:off x="5199" y="0"/>
          <a:ext cx="4546597" cy="1439305"/>
        </a:xfrm>
        <a:prstGeom prst="homePlate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4018" tIns="72009" rIns="36005" bIns="72009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kern="1200" dirty="0" smtClean="0"/>
            <a:t>Сформировали</a:t>
          </a:r>
          <a:br>
            <a:rPr lang="ru-RU" sz="2700" b="1" kern="1200" dirty="0" smtClean="0"/>
          </a:br>
          <a:r>
            <a:rPr lang="en-US" sz="2700" b="1" kern="1200" dirty="0" smtClean="0"/>
            <a:t>DATASET</a:t>
          </a:r>
          <a:r>
            <a:rPr lang="ru-RU" sz="2700" b="1" kern="1200" dirty="0" smtClean="0"/>
            <a:t> и развернули его на сервере баз данных </a:t>
          </a:r>
          <a:endParaRPr lang="ru-RU" sz="2700" b="1" kern="1200" dirty="0"/>
        </a:p>
      </dsp:txBody>
      <dsp:txXfrm>
        <a:off x="5199" y="0"/>
        <a:ext cx="4186771" cy="1439305"/>
      </dsp:txXfrm>
    </dsp:sp>
    <dsp:sp modelId="{2C62267F-E1B5-4F05-9082-2C4017B9B98C}">
      <dsp:nvSpPr>
        <dsp:cNvPr id="0" name=""/>
        <dsp:cNvSpPr/>
      </dsp:nvSpPr>
      <dsp:spPr>
        <a:xfrm>
          <a:off x="3803326" y="0"/>
          <a:ext cx="4546597" cy="1439305"/>
        </a:xfrm>
        <a:prstGeom prst="chevron">
          <a:avLst/>
        </a:prstGeom>
        <a:solidFill>
          <a:schemeClr val="accent1">
            <a:shade val="80000"/>
            <a:hueOff val="174641"/>
            <a:satOff val="-3128"/>
            <a:lumOff val="1329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2014" tIns="74676" rIns="37338" bIns="7467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/>
            <a:t>Установили</a:t>
          </a:r>
          <a:br>
            <a:rPr lang="ru-RU" sz="2800" b="1" kern="1200" dirty="0" smtClean="0"/>
          </a:br>
          <a:r>
            <a:rPr lang="ru-RU" sz="2800" b="1" kern="1200" dirty="0" smtClean="0"/>
            <a:t>и настроили </a:t>
          </a:r>
          <a:r>
            <a:rPr lang="en-US" sz="2800" b="1" u="none" kern="1200" dirty="0" err="1" smtClean="0"/>
            <a:t>Metabase</a:t>
          </a:r>
          <a:endParaRPr lang="ru-RU" sz="2800" b="1" u="none" kern="1200" dirty="0"/>
        </a:p>
      </dsp:txBody>
      <dsp:txXfrm>
        <a:off x="4522979" y="0"/>
        <a:ext cx="3107292" cy="1439305"/>
      </dsp:txXfrm>
    </dsp:sp>
    <dsp:sp modelId="{589EE212-0A60-44F7-A1CC-7D3F7CDFCB2E}">
      <dsp:nvSpPr>
        <dsp:cNvPr id="0" name=""/>
        <dsp:cNvSpPr/>
      </dsp:nvSpPr>
      <dsp:spPr>
        <a:xfrm>
          <a:off x="7276490" y="0"/>
          <a:ext cx="4546597" cy="1439305"/>
        </a:xfrm>
        <a:prstGeom prst="chevron">
          <a:avLst/>
        </a:prstGeom>
        <a:solidFill>
          <a:schemeClr val="accent1">
            <a:shade val="80000"/>
            <a:hueOff val="349283"/>
            <a:satOff val="-6256"/>
            <a:lumOff val="265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85344" rIns="42672" bIns="8534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 smtClean="0">
              <a:solidFill>
                <a:schemeClr val="bg1"/>
              </a:solidFill>
              <a:effectLst/>
            </a:rPr>
            <a:t>Сделали «</a:t>
          </a:r>
          <a:r>
            <a:rPr lang="ru-RU" sz="3200" b="1" kern="1200" dirty="0" err="1" smtClean="0">
              <a:solidFill>
                <a:schemeClr val="bg1"/>
              </a:solidFill>
              <a:effectLst/>
            </a:rPr>
            <a:t>дашборд</a:t>
          </a:r>
          <a:r>
            <a:rPr lang="ru-RU" sz="3200" b="1" kern="1200" dirty="0" smtClean="0">
              <a:solidFill>
                <a:schemeClr val="bg1"/>
              </a:solidFill>
              <a:effectLst/>
            </a:rPr>
            <a:t>»</a:t>
          </a:r>
          <a:br>
            <a:rPr lang="ru-RU" sz="3200" b="1" kern="1200" dirty="0" smtClean="0">
              <a:solidFill>
                <a:schemeClr val="bg1"/>
              </a:solidFill>
              <a:effectLst/>
            </a:rPr>
          </a:br>
          <a:r>
            <a:rPr lang="ru-RU" sz="3200" b="1" kern="1200" dirty="0" smtClean="0">
              <a:solidFill>
                <a:schemeClr val="bg1"/>
              </a:solidFill>
              <a:effectLst/>
            </a:rPr>
            <a:t>в </a:t>
          </a:r>
          <a:r>
            <a:rPr lang="en-US" sz="3200" b="1" kern="1200" dirty="0" err="1" smtClean="0">
              <a:solidFill>
                <a:schemeClr val="bg1"/>
              </a:solidFill>
              <a:effectLst/>
            </a:rPr>
            <a:t>Metabase</a:t>
          </a:r>
          <a:endParaRPr lang="ru-RU" sz="3200" b="1" kern="1200" dirty="0">
            <a:solidFill>
              <a:schemeClr val="bg1"/>
            </a:solidFill>
            <a:effectLst/>
          </a:endParaRPr>
        </a:p>
      </dsp:txBody>
      <dsp:txXfrm>
        <a:off x="7996143" y="0"/>
        <a:ext cx="3107292" cy="143930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960FCA-344F-4B06-961F-234BA8AFC6AD}">
      <dsp:nvSpPr>
        <dsp:cNvPr id="0" name=""/>
        <dsp:cNvSpPr/>
      </dsp:nvSpPr>
      <dsp:spPr>
        <a:xfrm>
          <a:off x="801370" y="0"/>
          <a:ext cx="9082193" cy="1752600"/>
        </a:xfrm>
        <a:prstGeom prst="rightArrow">
          <a:avLst/>
        </a:prstGeom>
        <a:solidFill>
          <a:schemeClr val="accent2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DB2CF1-508C-4D35-94D1-5E89F4242EEB}">
      <dsp:nvSpPr>
        <dsp:cNvPr id="0" name=""/>
        <dsp:cNvSpPr/>
      </dsp:nvSpPr>
      <dsp:spPr>
        <a:xfrm>
          <a:off x="362077" y="525779"/>
          <a:ext cx="3205480" cy="7010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/>
            <a:t>Увеличение доходов более чем в 1,5 раза</a:t>
          </a:r>
          <a:endParaRPr lang="ru-RU" sz="1700" b="1" kern="1200" dirty="0"/>
        </a:p>
      </dsp:txBody>
      <dsp:txXfrm>
        <a:off x="396299" y="560001"/>
        <a:ext cx="3137036" cy="632596"/>
      </dsp:txXfrm>
    </dsp:sp>
    <dsp:sp modelId="{DCC3F931-47CC-4EC6-B548-592FB56E2A85}">
      <dsp:nvSpPr>
        <dsp:cNvPr id="0" name=""/>
        <dsp:cNvSpPr/>
      </dsp:nvSpPr>
      <dsp:spPr>
        <a:xfrm>
          <a:off x="3739726" y="525779"/>
          <a:ext cx="3205480" cy="7010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/>
            <a:t>Повышение социальной ответственности</a:t>
          </a:r>
          <a:endParaRPr lang="ru-RU" sz="1700" b="1" kern="1200" dirty="0"/>
        </a:p>
      </dsp:txBody>
      <dsp:txXfrm>
        <a:off x="3773948" y="560001"/>
        <a:ext cx="3137036" cy="632596"/>
      </dsp:txXfrm>
    </dsp:sp>
    <dsp:sp modelId="{55A81B75-6BCC-4572-91A7-CB4E4F9C91B1}">
      <dsp:nvSpPr>
        <dsp:cNvPr id="0" name=""/>
        <dsp:cNvSpPr/>
      </dsp:nvSpPr>
      <dsp:spPr>
        <a:xfrm>
          <a:off x="7117376" y="525779"/>
          <a:ext cx="3205480" cy="70104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/>
            <a:t>Реализация трудового потенциала</a:t>
          </a:r>
          <a:endParaRPr lang="ru-RU" sz="1700" b="1" kern="1200" dirty="0"/>
        </a:p>
      </dsp:txBody>
      <dsp:txXfrm>
        <a:off x="7151598" y="560001"/>
        <a:ext cx="3137036" cy="6325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8067A4-4A9E-49FD-8DAB-FA1255427B79}" type="datetimeFigureOut">
              <a:rPr lang="ru-RU" smtClean="0"/>
              <a:t>23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8F9564-6D83-497F-A0A6-C1411EAACE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75571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Синий">
    <p:bg>
      <p:bgPr>
        <a:solidFill>
          <a:srgbClr val="505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7E3ACCEA-102A-4B47-8BAD-E97080CBBA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865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D8FF239D-64CB-D74D-B952-851537ED8D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4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Зелё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A1F9B2D8-1EE7-C44E-AE2B-B3313C068E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50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5B6DE9E8-6580-874F-B839-2AC4713F82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29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Градиентн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5B6DE9E8-6580-874F-B839-2AC4713F82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B967FADA-9199-F74A-95BC-035DDE73B5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900" y="0"/>
            <a:ext cx="11099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284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20190424_2000 Meeting with ARB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042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20190424_2000 Meeting with ARB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35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8260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1" r:id="rId2"/>
    <p:sldLayoutId id="2147483655" r:id="rId3"/>
    <p:sldLayoutId id="2147483656" r:id="rId4"/>
    <p:sldLayoutId id="2147483657" r:id="rId5"/>
    <p:sldLayoutId id="2147483659" r:id="rId6"/>
    <p:sldLayoutId id="2147483660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6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7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fif"/><Relationship Id="rId1" Type="http://schemas.openxmlformats.org/officeDocument/2006/relationships/slideLayout" Target="../slideLayouts/slideLayout2.xml"/><Relationship Id="rId4" Type="http://schemas.microsoft.com/office/2007/relationships/hdphoto" Target="../media/hdphoto8.wdp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9.wdp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mailto:sedovich@donland.ru" TargetMode="External"/><Relationship Id="rId7" Type="http://schemas.openxmlformats.org/officeDocument/2006/relationships/hyperlink" Target="mailto:uait@protect.donpac.ru" TargetMode="External"/><Relationship Id="rId2" Type="http://schemas.openxmlformats.org/officeDocument/2006/relationships/hyperlink" Target="mailto:Alexeev-post@yandex.ru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vodolago@protect.donpac.ru" TargetMode="External"/><Relationship Id="rId5" Type="http://schemas.openxmlformats.org/officeDocument/2006/relationships/hyperlink" Target="mailto:alexl@protect.donpac.ru" TargetMode="External"/><Relationship Id="rId4" Type="http://schemas.openxmlformats.org/officeDocument/2006/relationships/hyperlink" Target="mailto:verx@donland.ru" TargetMode="Externa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microsoft.com/office/2007/relationships/hdphoto" Target="../media/hdphoto2.wdp"/><Relationship Id="rId4" Type="http://schemas.openxmlformats.org/officeDocument/2006/relationships/image" Target="../media/image10.jpeg"/><Relationship Id="rId9" Type="http://schemas.microsoft.com/office/2007/relationships/hdphoto" Target="../media/hdphoto4.wdp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microsoft.com/office/2007/relationships/hdphoto" Target="../media/hdphoto1.wdp"/><Relationship Id="rId7" Type="http://schemas.openxmlformats.org/officeDocument/2006/relationships/diagramColors" Target="../diagrams/colors1.xm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5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xmlns="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1672835"/>
            <a:ext cx="10483850" cy="729565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Анализ профиля бедности в регионе</a:t>
            </a:r>
          </a:p>
          <a:p>
            <a:endParaRPr 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F7A1A39F-C528-FC49-821E-CD9F5D753B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282989" y="275837"/>
            <a:ext cx="1218829" cy="56375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202AEAF9-A90F-6945-B591-0A92322811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2741156" y="202857"/>
            <a:ext cx="1523338" cy="636739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2154026"/>
            <a:ext cx="10483850" cy="138952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</a:rPr>
              <a:t>Ростовская область</a:t>
            </a:r>
            <a:endParaRPr lang="ru-RU" sz="3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2723052"/>
            <a:ext cx="10483850" cy="138952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Название команды: Правительство Ростовской обла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</a:rPr>
              <a:t>Алексеев Антон Сергеевич, Советник Губернатора Ростовской </a:t>
            </a: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обла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</a:rPr>
              <a:t>Седович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</a:rPr>
              <a:t> Владимир Андреевич, начальник управления информационных технологий министерства информационных технологий и связи Ростовской </a:t>
            </a: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обла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</a:rPr>
              <a:t>Верходанова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</a:rPr>
              <a:t> Юлия Владимировна, начальник управления информатизации министерства труда и социального развития Ростовской </a:t>
            </a: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обла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>
                <a:solidFill>
                  <a:schemeClr val="bg1"/>
                </a:solidFill>
                <a:latin typeface="Arial" panose="020B0604020202020204" pitchFamily="34" charset="0"/>
              </a:rPr>
              <a:t>Лесовой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</a:rPr>
              <a:t> Алексей Александрович, начальник отдела создания и эксплуатации информационных систем управления информатизации министерства труда и социального развития Ростовской </a:t>
            </a: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обла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Водолаго</a:t>
            </a: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 Сергей Павлович, главный специалист отдела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</a:rPr>
              <a:t>создания и эксплуатации информационных систем управления информатизации министерства труда и социального развития Ростовской </a:t>
            </a: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област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Фомина Анна Игоревна,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</a:rPr>
              <a:t>главный специалист отдела создания и эксплуатации информационных систем управления информатизации министерства труда и социального развития Ростовской </a:t>
            </a: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области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1048414"/>
            <a:ext cx="10483850" cy="72886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Паспорт решения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43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427243" y="497478"/>
            <a:ext cx="97520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теграция решения в административные процесс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486522" y="1394943"/>
            <a:ext cx="975201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200" dirty="0" smtClean="0"/>
          </a:p>
          <a:p>
            <a:r>
              <a:rPr lang="ru-RU" sz="4000" dirty="0" smtClean="0">
                <a:solidFill>
                  <a:srgbClr val="C00000"/>
                </a:solidFill>
              </a:rPr>
              <a:t>Передача данных в министерство здравоохранения области для выделения квот по оказанию высокотехнологичной медицинской помощи</a:t>
            </a:r>
            <a:endParaRPr lang="ru-RU" sz="36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10603" y="4030134"/>
            <a:ext cx="3277921" cy="267546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18671" y="4352886"/>
            <a:ext cx="2769257" cy="226576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72583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427243" y="497478"/>
            <a:ext cx="97520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теграция решения в административные процессы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10603" y="4030134"/>
            <a:ext cx="3277921" cy="267546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0" name="Прямоугольник 9"/>
          <p:cNvSpPr/>
          <p:nvPr/>
        </p:nvSpPr>
        <p:spPr>
          <a:xfrm>
            <a:off x="1469588" y="1149400"/>
            <a:ext cx="9752012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200" dirty="0" smtClean="0"/>
          </a:p>
          <a:p>
            <a:r>
              <a:rPr lang="ru-RU" sz="4000" dirty="0" smtClean="0">
                <a:solidFill>
                  <a:srgbClr val="C00000"/>
                </a:solidFill>
              </a:rPr>
              <a:t>Проведение межведомственного совещания и внесение в протокол решения о создании комиссии для проведения обследования семей, находящихся в «группе риска» и недопущения снижения доходов за черту бедности</a:t>
            </a:r>
            <a:endParaRPr lang="ru-RU" sz="36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3431" y="5364179"/>
            <a:ext cx="3911597" cy="129033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9434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427243" y="497478"/>
            <a:ext cx="97520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теграция решения в административные процесс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276555" y="1387703"/>
            <a:ext cx="10402002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dirty="0" smtClean="0"/>
          </a:p>
          <a:p>
            <a:r>
              <a:rPr lang="ru-RU" sz="2800" dirty="0" smtClean="0">
                <a:solidFill>
                  <a:srgbClr val="C00000"/>
                </a:solidFill>
              </a:rPr>
              <a:t>Реализация постановлений Правительства </a:t>
            </a:r>
            <a:r>
              <a:rPr lang="ru-RU" sz="2800" dirty="0">
                <a:solidFill>
                  <a:srgbClr val="C00000"/>
                </a:solidFill>
              </a:rPr>
              <a:t>Ростовской </a:t>
            </a:r>
            <a:r>
              <a:rPr lang="ru-RU" sz="2800" dirty="0" smtClean="0">
                <a:solidFill>
                  <a:srgbClr val="C00000"/>
                </a:solidFill>
              </a:rPr>
              <a:t>области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rgbClr val="0070C0"/>
                </a:solidFill>
              </a:rPr>
              <a:t>от </a:t>
            </a:r>
            <a:r>
              <a:rPr lang="ru-RU" sz="2800" dirty="0">
                <a:solidFill>
                  <a:srgbClr val="0070C0"/>
                </a:solidFill>
              </a:rPr>
              <a:t>13.03.2019 </a:t>
            </a:r>
            <a:r>
              <a:rPr lang="ru-RU" sz="2800" dirty="0" smtClean="0">
                <a:solidFill>
                  <a:srgbClr val="0070C0"/>
                </a:solidFill>
              </a:rPr>
              <a:t>№ </a:t>
            </a:r>
            <a:r>
              <a:rPr lang="ru-RU" sz="2800" dirty="0">
                <a:solidFill>
                  <a:srgbClr val="0070C0"/>
                </a:solidFill>
              </a:rPr>
              <a:t>142 </a:t>
            </a:r>
            <a:r>
              <a:rPr lang="ru-RU" sz="2800" dirty="0" smtClean="0">
                <a:solidFill>
                  <a:srgbClr val="0070C0"/>
                </a:solidFill>
              </a:rPr>
              <a:t>«О </a:t>
            </a:r>
            <a:r>
              <a:rPr lang="ru-RU" sz="2800" dirty="0">
                <a:solidFill>
                  <a:srgbClr val="0070C0"/>
                </a:solidFill>
              </a:rPr>
              <a:t>нормативах чистого дохода в стоимостном выражении от реализации полученных в личном подсобном хозяйстве плодов и </a:t>
            </a:r>
            <a:r>
              <a:rPr lang="ru-RU" sz="2800" dirty="0" smtClean="0">
                <a:solidFill>
                  <a:srgbClr val="0070C0"/>
                </a:solidFill>
              </a:rPr>
              <a:t>продукции» </a:t>
            </a:r>
            <a:endParaRPr lang="ru-RU" sz="2800" dirty="0">
              <a:solidFill>
                <a:srgbClr val="0070C0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rgbClr val="0070C0"/>
                </a:solidFill>
              </a:rPr>
              <a:t>от </a:t>
            </a:r>
            <a:r>
              <a:rPr lang="ru-RU" sz="2800" dirty="0">
                <a:solidFill>
                  <a:srgbClr val="0070C0"/>
                </a:solidFill>
              </a:rPr>
              <a:t>13.03.2019 </a:t>
            </a:r>
            <a:r>
              <a:rPr lang="ru-RU" sz="2800" dirty="0" smtClean="0">
                <a:solidFill>
                  <a:srgbClr val="0070C0"/>
                </a:solidFill>
              </a:rPr>
              <a:t>№ </a:t>
            </a:r>
            <a:r>
              <a:rPr lang="ru-RU" sz="2800" dirty="0">
                <a:solidFill>
                  <a:srgbClr val="0070C0"/>
                </a:solidFill>
              </a:rPr>
              <a:t>145 </a:t>
            </a:r>
            <a:r>
              <a:rPr lang="ru-RU" sz="2800" dirty="0" smtClean="0">
                <a:solidFill>
                  <a:srgbClr val="0070C0"/>
                </a:solidFill>
              </a:rPr>
              <a:t>«О </a:t>
            </a:r>
            <a:r>
              <a:rPr lang="ru-RU" sz="2800" dirty="0">
                <a:solidFill>
                  <a:srgbClr val="0070C0"/>
                </a:solidFill>
              </a:rPr>
              <a:t>Порядке оценки нуждаемости исходя из имущественной обеспеченности для предоставления мер социальной поддержки малоимущим </a:t>
            </a:r>
            <a:r>
              <a:rPr lang="ru-RU" sz="2800" dirty="0" smtClean="0">
                <a:solidFill>
                  <a:srgbClr val="0070C0"/>
                </a:solidFill>
              </a:rPr>
              <a:t>семьям»</a:t>
            </a:r>
          </a:p>
          <a:p>
            <a:endParaRPr lang="ru-RU" sz="20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AutoShape 2" descr="blob:https://web.telegram.org/959351c5-c128-4c11-9db8-d6a6d3950f66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7238" y="4758268"/>
            <a:ext cx="3556231" cy="202190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449" y="4988217"/>
            <a:ext cx="2344983" cy="1746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284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427243" y="497478"/>
            <a:ext cx="97520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теграция решения в административные процессы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89132" y="1833567"/>
            <a:ext cx="5699391" cy="465189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Прямоугольник 9"/>
          <p:cNvSpPr/>
          <p:nvPr/>
        </p:nvSpPr>
        <p:spPr>
          <a:xfrm>
            <a:off x="1401852" y="1792892"/>
            <a:ext cx="10493812" cy="4524315"/>
          </a:xfrm>
          <a:prstGeom prst="rect">
            <a:avLst/>
          </a:prstGeom>
          <a:solidFill>
            <a:schemeClr val="bg1">
              <a:alpha val="53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C00000"/>
                </a:solidFill>
              </a:rPr>
              <a:t>Проведение выездных приёмов</a:t>
            </a:r>
            <a:br>
              <a:rPr lang="ru-RU" sz="3600" b="1" dirty="0" smtClean="0">
                <a:solidFill>
                  <a:srgbClr val="C00000"/>
                </a:solidFill>
              </a:rPr>
            </a:br>
            <a:r>
              <a:rPr lang="ru-RU" sz="3600" b="1" dirty="0" smtClean="0">
                <a:solidFill>
                  <a:srgbClr val="C00000"/>
                </a:solidFill>
              </a:rPr>
              <a:t>«Бригадами добрых дел» в точках риска </a:t>
            </a:r>
            <a:r>
              <a:rPr lang="ru-RU" sz="3600" b="1" dirty="0">
                <a:solidFill>
                  <a:srgbClr val="C00000"/>
                </a:solidFill>
              </a:rPr>
              <a:t>области, т.е. находиться ближе всего к людям, быть максимально открытыми, готовыми к диалогу и оперативному реагированию на заявленные обществом проблемы, достигнув нашей с вами общей цели – </a:t>
            </a:r>
            <a:r>
              <a:rPr lang="ru-RU" sz="3600" b="1" u="sng" dirty="0">
                <a:solidFill>
                  <a:srgbClr val="C00000"/>
                </a:solidFill>
              </a:rPr>
              <a:t>чтобы национальные проекты дошли до каждого человека</a:t>
            </a:r>
            <a:r>
              <a:rPr lang="ru-RU" sz="3600" b="1" dirty="0">
                <a:solidFill>
                  <a:srgbClr val="C00000"/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1903809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427243" y="294270"/>
            <a:ext cx="9752012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нижение иждивенческих настроений при оказании государственной помощи для выхода семей из трудной жизненной ситуаци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427243" y="2184992"/>
            <a:ext cx="10646226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 smtClean="0"/>
          </a:p>
          <a:p>
            <a:r>
              <a:rPr lang="ru-RU" sz="3600" dirty="0" smtClean="0">
                <a:solidFill>
                  <a:srgbClr val="C00000"/>
                </a:solidFill>
              </a:rPr>
              <a:t>«Социальный контракт»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слуга оказывается с 2013 года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сего заключено 2322 </a:t>
            </a:r>
            <a:r>
              <a:rPr lang="ru-RU" sz="2400" dirty="0" err="1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цконтракта</a:t>
            </a:r>
            <a:r>
              <a:rPr lang="ru-RU" sz="2400" dirty="0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на сумму 240 </a:t>
            </a:r>
            <a:r>
              <a:rPr lang="ru-RU" sz="2400" dirty="0" err="1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лн.руб</a:t>
            </a:r>
            <a:r>
              <a:rPr lang="ru-RU" sz="2400" dirty="0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2018 году заключено 995 </a:t>
            </a:r>
            <a:r>
              <a:rPr lang="ru-RU" sz="2400" dirty="0" err="1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цконтрактов</a:t>
            </a:r>
            <a:endParaRPr lang="ru-RU" sz="2400" dirty="0" smtClean="0">
              <a:solidFill>
                <a:srgbClr val="C00000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 11 месяцев 2019 года заключено 1748 </a:t>
            </a:r>
            <a:r>
              <a:rPr lang="ru-RU" sz="2400" dirty="0" err="1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цконтрактов</a:t>
            </a:r>
            <a:r>
              <a:rPr lang="ru-RU" sz="2400" dirty="0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в том числе 44,7% многодетные семьи</a:t>
            </a:r>
            <a:endParaRPr lang="ru-RU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AutoShape 2" descr="blob:https://web.telegram.org/959351c5-c128-4c11-9db8-d6a6d3950f66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3422378501"/>
              </p:ext>
            </p:extLst>
          </p:nvPr>
        </p:nvGraphicFramePr>
        <p:xfrm>
          <a:off x="1185333" y="4669358"/>
          <a:ext cx="10684934" cy="1752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Скругленный прямоугольник 8"/>
          <p:cNvSpPr/>
          <p:nvPr/>
        </p:nvSpPr>
        <p:spPr>
          <a:xfrm>
            <a:off x="1642532" y="6129867"/>
            <a:ext cx="8415867" cy="567266"/>
          </a:xfrm>
          <a:prstGeom prst="roundRect">
            <a:avLst/>
          </a:prstGeom>
          <a:ln w="3810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казание адресной помощи при применении </a:t>
            </a:r>
            <a:r>
              <a:rPr lang="ru-RU" dirty="0" err="1" smtClean="0"/>
              <a:t>выявительного</a:t>
            </a:r>
            <a:r>
              <a:rPr lang="ru-RU" dirty="0" smtClean="0"/>
              <a:t> подхода к семьям</a:t>
            </a:r>
            <a:br>
              <a:rPr lang="ru-RU" dirty="0" smtClean="0"/>
            </a:br>
            <a:r>
              <a:rPr lang="ru-RU" dirty="0" smtClean="0"/>
              <a:t>с детьми на основе анализа различных источников данных (</a:t>
            </a:r>
            <a:r>
              <a:rPr lang="en-US" dirty="0" err="1" smtClean="0"/>
              <a:t>Bigdata</a:t>
            </a:r>
            <a:r>
              <a:rPr lang="ru-RU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7034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427243" y="294270"/>
            <a:ext cx="1055309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ра поддержки многодетных семей будет реализовываться на Дону </a:t>
            </a:r>
            <a:r>
              <a:rPr lang="ru-RU" sz="3600" dirty="0">
                <a:solidFill>
                  <a:srgbClr val="FF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 1 января 2020 </a:t>
            </a:r>
            <a:r>
              <a:rPr lang="ru-RU" sz="3600" dirty="0" smtClean="0">
                <a:solidFill>
                  <a:srgbClr val="FF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да</a:t>
            </a:r>
            <a:endParaRPr lang="ru-RU" sz="3600" dirty="0">
              <a:solidFill>
                <a:srgbClr val="FF0000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393375" y="1490698"/>
            <a:ext cx="10646226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 smtClean="0"/>
          </a:p>
          <a:p>
            <a:r>
              <a:rPr lang="ru-RU" sz="3600" dirty="0"/>
              <a:t>В следующем году в Ростовской области возобновится такой вид поддержки, как </a:t>
            </a:r>
            <a:r>
              <a:rPr lang="ru-RU" sz="3600" dirty="0">
                <a:solidFill>
                  <a:srgbClr val="C00000"/>
                </a:solidFill>
              </a:rPr>
              <a:t>право на бесплатный автомобиль многодетным семьям</a:t>
            </a:r>
            <a:r>
              <a:rPr lang="ru-RU" sz="3600" dirty="0"/>
              <a:t>, достойно воспитывающим </a:t>
            </a:r>
            <a:r>
              <a:rPr lang="ru-RU" sz="3600" dirty="0" smtClean="0"/>
              <a:t>8 </a:t>
            </a:r>
            <a:r>
              <a:rPr lang="ru-RU" sz="3600" dirty="0"/>
              <a:t>и более несовершеннолетних детей</a:t>
            </a:r>
            <a:r>
              <a:rPr lang="ru-RU" sz="3600" dirty="0" smtClean="0"/>
              <a:t>.</a:t>
            </a:r>
            <a:endParaRPr lang="ru-RU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AutoShape 2" descr="blob:https://web.telegram.org/959351c5-c128-4c11-9db8-d6a6d3950f66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8216"/>
          <a:stretch/>
        </p:blipFill>
        <p:spPr>
          <a:xfrm>
            <a:off x="5161742" y="4521200"/>
            <a:ext cx="6877876" cy="2263905"/>
          </a:xfrm>
          <a:prstGeom prst="rect">
            <a:avLst/>
          </a:prstGeom>
        </p:spPr>
      </p:pic>
      <p:sp>
        <p:nvSpPr>
          <p:cNvPr id="11" name="Стрелка углом 10"/>
          <p:cNvSpPr/>
          <p:nvPr/>
        </p:nvSpPr>
        <p:spPr>
          <a:xfrm rot="5400000">
            <a:off x="8635049" y="3859850"/>
            <a:ext cx="2129665" cy="1699168"/>
          </a:xfrm>
          <a:prstGeom prst="bentArrow">
            <a:avLst>
              <a:gd name="adj1" fmla="val 15834"/>
              <a:gd name="adj2" fmla="val 15482"/>
              <a:gd name="adj3" fmla="val 25000"/>
              <a:gd name="adj4" fmla="val 43750"/>
            </a:avLst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2" name="Знак запрета 11"/>
          <p:cNvSpPr/>
          <p:nvPr/>
        </p:nvSpPr>
        <p:spPr>
          <a:xfrm>
            <a:off x="10989728" y="6096003"/>
            <a:ext cx="508000" cy="499533"/>
          </a:xfrm>
          <a:prstGeom prst="noSmoking">
            <a:avLst>
              <a:gd name="adj" fmla="val 18119"/>
            </a:avLst>
          </a:prstGeom>
          <a:solidFill>
            <a:srgbClr val="FF000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3" name="Нашивка 12"/>
          <p:cNvSpPr/>
          <p:nvPr/>
        </p:nvSpPr>
        <p:spPr>
          <a:xfrm rot="5400000">
            <a:off x="9660319" y="6155269"/>
            <a:ext cx="426258" cy="347133"/>
          </a:xfrm>
          <a:prstGeom prst="chevron">
            <a:avLst>
              <a:gd name="adj" fmla="val 81707"/>
            </a:avLst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142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18739" y="240804"/>
            <a:ext cx="9929921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2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лючевые показатели эффективности:</a:t>
            </a:r>
          </a:p>
          <a:p>
            <a:r>
              <a:rPr lang="ru-RU" sz="2400" dirty="0" smtClean="0"/>
              <a:t>Исходя из Указа </a:t>
            </a:r>
            <a:r>
              <a:rPr lang="ru-RU" sz="2400" dirty="0"/>
              <a:t>Президента Российской Федерации от 07.05.2018 № </a:t>
            </a:r>
            <a:r>
              <a:rPr lang="ru-RU" sz="2400" dirty="0" smtClean="0"/>
              <a:t>204</a:t>
            </a:r>
            <a:br>
              <a:rPr lang="ru-RU" sz="2400" dirty="0" smtClean="0"/>
            </a:br>
            <a:r>
              <a:rPr lang="ru-RU" sz="2400" dirty="0" smtClean="0"/>
              <a:t>«О </a:t>
            </a:r>
            <a:r>
              <a:rPr lang="ru-RU" sz="2400" dirty="0"/>
              <a:t>национальных целях и стратегических задачах развития Российской Федерации на период до 2024 года» – </a:t>
            </a:r>
            <a:r>
              <a:rPr lang="ru-RU" sz="2400" dirty="0">
                <a:solidFill>
                  <a:srgbClr val="C00000"/>
                </a:solidFill>
              </a:rPr>
              <a:t>снижение уровня бедности в два раза до 2024 </a:t>
            </a:r>
            <a:r>
              <a:rPr lang="ru-RU" sz="2400" dirty="0" smtClean="0">
                <a:solidFill>
                  <a:srgbClr val="C00000"/>
                </a:solidFill>
              </a:rPr>
              <a:t>года</a:t>
            </a:r>
            <a:endParaRPr lang="ru-RU" sz="24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лияние на цели Национального проекта:</a:t>
            </a:r>
            <a:r>
              <a:rPr lang="ru-RU" sz="4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нтроль данных о структуре и составе бедности – выявление групп населения с </a:t>
            </a:r>
            <a:r>
              <a:rPr lang="ru-RU" sz="24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сокими рисками </a:t>
            </a:r>
            <a:r>
              <a:rPr lang="ru-RU" sz="24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бедности и применение к ним адресных ме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вод из бедности наиболее массовых категорий населения за </a:t>
            </a:r>
            <a:r>
              <a:rPr lang="ru-RU" sz="24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чет системных </a:t>
            </a:r>
            <a:r>
              <a:rPr lang="ru-RU" sz="24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р</a:t>
            </a:r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8988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18739" y="413082"/>
            <a:ext cx="9479347" cy="64633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зультаты внедрения:</a:t>
            </a:r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явление «мнимых бедных» (реализация постановлений Правительства области </a:t>
            </a:r>
            <a:r>
              <a:rPr lang="ru-RU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 13.03.2019 № </a:t>
            </a:r>
            <a:r>
              <a:rPr lang="ru-RU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42, 145) </a:t>
            </a:r>
            <a:endParaRPr lang="ru-RU" dirty="0"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явление «скрытых бедных» - проведение </a:t>
            </a:r>
            <a:r>
              <a:rPr lang="ru-RU" dirty="0" err="1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аргетированных</a:t>
            </a:r>
            <a:r>
              <a:rPr lang="ru-RU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информационных акций, в том числе социальной рекламы, операторами сотовой связ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троение </a:t>
            </a:r>
            <a:r>
              <a:rPr lang="ru-RU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аршрутов </a:t>
            </a:r>
            <a:r>
              <a:rPr lang="ru-RU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ездных </a:t>
            </a:r>
            <a:r>
              <a:rPr lang="ru-RU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ёмов органов социальной защиты в соответствии с «тепловой </a:t>
            </a:r>
            <a:r>
              <a:rPr lang="ru-RU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ртой региона»</a:t>
            </a:r>
            <a:endParaRPr lang="ru-RU" dirty="0"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сширение государственной помощи семьям с детьми на основании расширения направлений социального контракта</a:t>
            </a:r>
            <a:endParaRPr lang="en-US" dirty="0" smtClean="0"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Эффекты:</a:t>
            </a:r>
          </a:p>
          <a:p>
            <a:r>
              <a:rPr lang="ru-RU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Эффект от внедрения решения достигается в составе комплексных мер работы с отдельными группами населения (</a:t>
            </a:r>
            <a:r>
              <a:rPr lang="ru-RU" dirty="0" err="1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таргетинг</a:t>
            </a:r>
            <a:r>
              <a:rPr lang="ru-RU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, изменения расчёта бюджета (НПА), корректировка регламентов оказания услуг (НПА)). Решение внедрено как инструмент способствующей реализации адресного и комплексного принципа взаимодействия с населением при реализации Национальных проектов</a:t>
            </a:r>
            <a:endParaRPr lang="ru-RU" dirty="0"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Тиражируемость</a:t>
            </a:r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:</a:t>
            </a:r>
            <a:r>
              <a:rPr lang="ru-RU" sz="4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/>
            </a:r>
            <a:br>
              <a:rPr lang="ru-RU" sz="4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</a:br>
            <a:r>
              <a:rPr lang="ru-RU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Внедрённое цифровое решение может быть тиражировано, носит универсальный характер, не требует финансовых затрат, привязано к конкретным носителям практики, может быть применено в организациях занятости, здравоохранения, образования и др. социальных ведомствах, передано другим субъектам РФ</a:t>
            </a:r>
          </a:p>
        </p:txBody>
      </p:sp>
    </p:spTree>
    <p:extLst>
      <p:ext uri="{BB962C8B-B14F-4D97-AF65-F5344CB8AC3E}">
        <p14:creationId xmlns:p14="http://schemas.microsoft.com/office/powerpoint/2010/main" val="3273960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811338" y="692315"/>
            <a:ext cx="9930088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Удобство пользователя цифрового </a:t>
            </a:r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решения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>
                <a:sym typeface="Arial"/>
              </a:rPr>
              <a:t>Решение возможно развернуть с использованием </a:t>
            </a:r>
            <a:r>
              <a:rPr lang="ru-RU" sz="2400" dirty="0" smtClean="0">
                <a:sym typeface="Arial"/>
              </a:rPr>
              <a:t>популярных, свободно распространяемых </a:t>
            </a:r>
            <a:r>
              <a:rPr lang="ru-RU" sz="2400" dirty="0">
                <a:sym typeface="Arial"/>
              </a:rPr>
              <a:t>серверов баз данных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>
                <a:sym typeface="Arial"/>
              </a:rPr>
              <a:t>Имеется возможность анализа и визуализации </a:t>
            </a:r>
            <a:r>
              <a:rPr lang="ru-RU" sz="2400" dirty="0" smtClean="0">
                <a:sym typeface="Arial"/>
              </a:rPr>
              <a:t>действующих данных</a:t>
            </a:r>
            <a:endParaRPr lang="ru-RU" sz="2400" dirty="0">
              <a:sym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ym typeface="Arial"/>
              </a:rPr>
              <a:t>Быстрое развёртывание решения</a:t>
            </a:r>
            <a:endParaRPr lang="ru-RU" sz="2400" dirty="0">
              <a:sym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/>
              <a:t>Для полного понимания как </a:t>
            </a:r>
            <a:r>
              <a:rPr lang="ru-RU" sz="2400" dirty="0" smtClean="0"/>
              <a:t>использовать </a:t>
            </a:r>
            <a:r>
              <a:rPr lang="ru-RU" sz="2400" dirty="0" err="1"/>
              <a:t>Metabase</a:t>
            </a:r>
            <a:r>
              <a:rPr lang="ru-RU" sz="2400" dirty="0"/>
              <a:t> полезно иметь высокоуровневое </a:t>
            </a:r>
            <a:r>
              <a:rPr lang="ru-RU" sz="2400" dirty="0" smtClean="0"/>
              <a:t>знание баз данных</a:t>
            </a:r>
            <a:endParaRPr lang="ru-RU" sz="2400" dirty="0">
              <a:sym typeface="Arial"/>
            </a:endParaRPr>
          </a:p>
          <a:p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endParaRPr lang="ru-RU" sz="24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Системность решения: </a:t>
            </a:r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/>
            </a:r>
            <a:b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</a:br>
            <a:r>
              <a:rPr lang="ru-RU" sz="24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Учитывая единство нормативно правовой базы </a:t>
            </a:r>
            <a:r>
              <a:rPr lang="ru-RU" sz="24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Российской </a:t>
            </a:r>
            <a:r>
              <a:rPr lang="ru-RU" sz="24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Федерации, государственное регулирование </a:t>
            </a:r>
            <a:r>
              <a:rPr lang="ru-RU" sz="24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ношений </a:t>
            </a:r>
            <a:r>
              <a:rPr lang="ru-RU" sz="24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социальной сфере</a:t>
            </a:r>
            <a:r>
              <a:rPr lang="ru-RU" sz="24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в том числе установление </a:t>
            </a:r>
            <a:r>
              <a:rPr lang="ru-RU" sz="24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сударственных гарантий </a:t>
            </a:r>
            <a:r>
              <a:rPr lang="ru-RU" sz="24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ажданам, </a:t>
            </a:r>
            <a:r>
              <a:rPr lang="ru-RU" sz="24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решение может быть практически реализовано в </a:t>
            </a:r>
            <a:r>
              <a:rPr lang="ru-RU" sz="24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субъектах России</a:t>
            </a:r>
            <a:endParaRPr lang="ru-RU" sz="2400" dirty="0"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0441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396471" y="285915"/>
            <a:ext cx="9930088" cy="6370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Выводы на основании работы с большими данными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олучение данных от операторов связи и сопоставление их с данными органов социальной защиты позволило с большей точностью отразить состояние бедности в Ростовской области, выделить дополнительные категории, нуждающиеся в особом внимании органов власти (категория семей с доходом от 10 до 20 тыс. руб./мес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FF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Важно! </a:t>
            </a:r>
            <a:r>
              <a:rPr lang="ru-RU" sz="24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Остаётся актуальным вопрос о взаимодействии всех органов власти для получения дополнительных сведений по выявленным категориям граждан «скрытые бедные» и «мнимые бедные»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олучение данных от других коммерческих организаций (банков, </a:t>
            </a:r>
            <a:r>
              <a:rPr lang="ru-RU" sz="2400" dirty="0" err="1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интернет-провайдеров</a:t>
            </a:r>
            <a:r>
              <a:rPr lang="ru-RU" sz="24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)</a:t>
            </a:r>
            <a:r>
              <a:rPr lang="ru-RU" sz="24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может также выявить дополнительные проблемы при адресной работе с семьями, переформулировать их в задачи и подсказать пути их решения.</a:t>
            </a:r>
            <a:endParaRPr lang="ru-RU" sz="2400" dirty="0"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272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88353"/>
            <a:ext cx="92548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нализ профиля бедности в регион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811338" y="2346481"/>
            <a:ext cx="9254836" cy="3062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5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ткое описание сути цифрового решения:</a:t>
            </a:r>
          </a:p>
          <a:p>
            <a:pPr fontAlgn="base"/>
            <a:endParaRPr lang="ru-RU" sz="2800" u="sng" dirty="0" smtClean="0"/>
          </a:p>
          <a:p>
            <a:pPr fontAlgn="base"/>
            <a:r>
              <a:rPr lang="ru-RU" sz="2800" dirty="0" err="1" smtClean="0"/>
              <a:t>Open</a:t>
            </a:r>
            <a:r>
              <a:rPr lang="ru-RU" sz="2800" dirty="0" smtClean="0"/>
              <a:t> </a:t>
            </a:r>
            <a:r>
              <a:rPr lang="ru-RU" sz="2800" dirty="0" err="1"/>
              <a:t>Sourse</a:t>
            </a:r>
            <a:r>
              <a:rPr lang="ru-RU" sz="2800" dirty="0"/>
              <a:t> </a:t>
            </a:r>
            <a:r>
              <a:rPr lang="ru-RU" sz="2800" dirty="0" smtClean="0"/>
              <a:t>решение, </a:t>
            </a:r>
            <a:r>
              <a:rPr lang="ru-RU" sz="2800" dirty="0"/>
              <a:t>с помощью которого </a:t>
            </a:r>
            <a:r>
              <a:rPr lang="ru-RU" sz="2800" dirty="0" smtClean="0"/>
              <a:t>возможно </a:t>
            </a:r>
            <a:r>
              <a:rPr lang="ru-RU" sz="2800" dirty="0"/>
              <a:t>анализировать хранимую в </a:t>
            </a:r>
            <a:r>
              <a:rPr lang="ru-RU" sz="2800" dirty="0" smtClean="0"/>
              <a:t>банках данных информацию.</a:t>
            </a:r>
            <a:endParaRPr lang="ru-RU" sz="2800" dirty="0"/>
          </a:p>
          <a:p>
            <a:pPr fontAlgn="base"/>
            <a:r>
              <a:rPr lang="ru-RU" sz="2800" dirty="0" smtClean="0"/>
              <a:t>Решение предоставляет возможность подключаться </a:t>
            </a:r>
            <a:r>
              <a:rPr lang="ru-RU" sz="2800" dirty="0"/>
              <a:t>к локальным или облачным </a:t>
            </a:r>
            <a:r>
              <a:rPr lang="ru-RU" sz="2800" dirty="0" smtClean="0"/>
              <a:t>базам данных </a:t>
            </a:r>
            <a:r>
              <a:rPr lang="ru-RU" sz="2800" dirty="0"/>
              <a:t>и </a:t>
            </a:r>
            <a:r>
              <a:rPr lang="ru-RU" sz="2800" dirty="0" smtClean="0"/>
              <a:t>обеспечивает инструментами </a:t>
            </a:r>
            <a:r>
              <a:rPr lang="ru-RU" sz="2800" dirty="0"/>
              <a:t>по </a:t>
            </a:r>
            <a:r>
              <a:rPr lang="ru-RU" sz="2800" dirty="0" smtClean="0"/>
              <a:t>их анализу и визуализации.</a:t>
            </a:r>
            <a:endParaRPr lang="ru-RU" sz="3600" dirty="0" smtClean="0"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811338" y="1434684"/>
            <a:ext cx="92548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остовская область</a:t>
            </a:r>
          </a:p>
        </p:txBody>
      </p:sp>
    </p:spTree>
    <p:extLst>
      <p:ext uri="{BB962C8B-B14F-4D97-AF65-F5344CB8AC3E}">
        <p14:creationId xmlns:p14="http://schemas.microsoft.com/office/powerpoint/2010/main" val="842372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589148" y="179567"/>
            <a:ext cx="9930088" cy="7509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Какие условия должны быть выполнены для реализации проекта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олучение данных от сотовых </a:t>
            </a:r>
            <a:r>
              <a:rPr lang="ru-RU" sz="28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операторов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Анализ расхождения данных соцзащиты и операторов сотовой связ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Рассмотреть возможность объединения данных сотовых операторов</a:t>
            </a:r>
            <a:endParaRPr lang="ru-RU" sz="2800" dirty="0"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одготовка проектов НПА по </a:t>
            </a:r>
            <a:r>
              <a:rPr lang="ru-RU" sz="28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корректировке бюджет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риблизительный расчёт дополнительных средств областного бюджета</a:t>
            </a:r>
          </a:p>
          <a:p>
            <a:r>
              <a:rPr lang="ru-RU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endParaRPr lang="ru-RU" sz="2800" dirty="0" smtClean="0"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algn="ctr"/>
            <a:r>
              <a:rPr lang="ru-RU" sz="2800" dirty="0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отенциальное количество граждан – группа риска при изменении состава семьи либо других условий (может попасть в категорию бедных при изменении СДД семьи) </a:t>
            </a: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773 754 человек</a:t>
            </a:r>
            <a:b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</a:br>
            <a:endParaRPr lang="ru-RU" sz="2800" b="1" dirty="0" smtClean="0">
              <a:solidFill>
                <a:srgbClr val="C00000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2800" dirty="0"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019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289127" y="112759"/>
            <a:ext cx="10039271" cy="67710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Контакты команды:</a:t>
            </a:r>
          </a:p>
          <a:p>
            <a:r>
              <a:rPr lang="ru-RU" sz="1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endParaRPr lang="ru-RU" sz="12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r>
              <a:rPr lang="ru-RU" sz="1900" b="1" dirty="0" smtClean="0"/>
              <a:t>Алексеев </a:t>
            </a:r>
            <a:r>
              <a:rPr lang="ru-RU" sz="1900" b="1" dirty="0"/>
              <a:t>Антон Сергеевич, </a:t>
            </a:r>
            <a:r>
              <a:rPr lang="ru-RU" sz="1900" dirty="0"/>
              <a:t>Советник </a:t>
            </a:r>
            <a:r>
              <a:rPr lang="ru-RU" sz="1900" dirty="0" smtClean="0"/>
              <a:t>Губернатора Ростовской области</a:t>
            </a:r>
            <a:br>
              <a:rPr lang="ru-RU" sz="1900" dirty="0" smtClean="0"/>
            </a:br>
            <a:r>
              <a:rPr lang="ru-RU" sz="1900" dirty="0" smtClean="0"/>
              <a:t>+</a:t>
            </a:r>
            <a:r>
              <a:rPr lang="ru-RU" sz="1900" dirty="0"/>
              <a:t>7(967)244 16 66, </a:t>
            </a:r>
            <a:r>
              <a:rPr lang="en-US" sz="1900" u="sng" dirty="0" err="1">
                <a:hlinkClick r:id="rId2"/>
              </a:rPr>
              <a:t>Alexeev</a:t>
            </a:r>
            <a:r>
              <a:rPr lang="ru-RU" sz="1900" u="sng" dirty="0">
                <a:hlinkClick r:id="rId2"/>
              </a:rPr>
              <a:t>-</a:t>
            </a:r>
            <a:r>
              <a:rPr lang="en-US" sz="1900" u="sng" dirty="0">
                <a:hlinkClick r:id="rId2"/>
              </a:rPr>
              <a:t>post</a:t>
            </a:r>
            <a:r>
              <a:rPr lang="ru-RU" sz="1900" u="sng" dirty="0">
                <a:hlinkClick r:id="rId2"/>
              </a:rPr>
              <a:t>@</a:t>
            </a:r>
            <a:r>
              <a:rPr lang="en-US" sz="1900" u="sng" dirty="0" err="1">
                <a:hlinkClick r:id="rId2"/>
              </a:rPr>
              <a:t>yandex</a:t>
            </a:r>
            <a:r>
              <a:rPr lang="ru-RU" sz="1900" u="sng" dirty="0">
                <a:hlinkClick r:id="rId2"/>
              </a:rPr>
              <a:t>.</a:t>
            </a:r>
            <a:r>
              <a:rPr lang="en-US" sz="1900" u="sng" dirty="0" err="1" smtClean="0">
                <a:hlinkClick r:id="rId2"/>
              </a:rPr>
              <a:t>ru</a:t>
            </a:r>
            <a:r>
              <a:rPr lang="ru-RU" sz="1900" dirty="0"/>
              <a:t/>
            </a:r>
            <a:br>
              <a:rPr lang="ru-RU" sz="1900" dirty="0"/>
            </a:br>
            <a:r>
              <a:rPr lang="ru-RU" sz="1900" b="1" dirty="0" err="1"/>
              <a:t>Седович</a:t>
            </a:r>
            <a:r>
              <a:rPr lang="ru-RU" sz="1900" b="1" dirty="0"/>
              <a:t> Владимир Андреевич</a:t>
            </a:r>
            <a:r>
              <a:rPr lang="ru-RU" sz="1900" dirty="0"/>
              <a:t>, начальник управления информационных технологий министерства информационных технологий и связи Ростовской </a:t>
            </a:r>
            <a:r>
              <a:rPr lang="ru-RU" sz="1900" dirty="0" smtClean="0"/>
              <a:t>области</a:t>
            </a:r>
          </a:p>
          <a:p>
            <a:r>
              <a:rPr lang="ru-RU" sz="1900" dirty="0"/>
              <a:t>(863)24</a:t>
            </a:r>
            <a:r>
              <a:rPr lang="en-US" sz="1900" dirty="0"/>
              <a:t>0 17 23</a:t>
            </a:r>
            <a:r>
              <a:rPr lang="ru-RU" sz="1900" dirty="0"/>
              <a:t>, </a:t>
            </a:r>
            <a:r>
              <a:rPr lang="en-US" sz="1900" u="sng" dirty="0">
                <a:hlinkClick r:id="rId3"/>
              </a:rPr>
              <a:t>sedovich@donland.ru</a:t>
            </a:r>
            <a:endParaRPr lang="ru-RU" sz="1900" dirty="0"/>
          </a:p>
          <a:p>
            <a:r>
              <a:rPr lang="ru-RU" sz="1900" b="1" dirty="0" err="1" smtClean="0"/>
              <a:t>Верходанова</a:t>
            </a:r>
            <a:r>
              <a:rPr lang="ru-RU" sz="1900" b="1" dirty="0" smtClean="0"/>
              <a:t> </a:t>
            </a:r>
            <a:r>
              <a:rPr lang="ru-RU" sz="1900" b="1" dirty="0"/>
              <a:t>Юлия Владимировна, </a:t>
            </a:r>
            <a:r>
              <a:rPr lang="ru-RU" sz="1900" dirty="0"/>
              <a:t>начальник управления информатизации министерства труда и социального развития Ростовской </a:t>
            </a:r>
            <a:r>
              <a:rPr lang="ru-RU" sz="1900" dirty="0" smtClean="0"/>
              <a:t>области</a:t>
            </a:r>
          </a:p>
          <a:p>
            <a:r>
              <a:rPr lang="ru-RU" sz="1900" dirty="0"/>
              <a:t>(863)234 45 88, </a:t>
            </a:r>
            <a:r>
              <a:rPr lang="en-US" sz="1900" u="sng" dirty="0">
                <a:hlinkClick r:id="rId4"/>
              </a:rPr>
              <a:t>verx@donland.ru</a:t>
            </a:r>
            <a:r>
              <a:rPr lang="ru-RU" sz="1900" dirty="0"/>
              <a:t/>
            </a:r>
            <a:br>
              <a:rPr lang="ru-RU" sz="1900" dirty="0"/>
            </a:br>
            <a:r>
              <a:rPr lang="ru-RU" sz="1900" b="1" dirty="0" err="1" smtClean="0"/>
              <a:t>Лесовой</a:t>
            </a:r>
            <a:r>
              <a:rPr lang="ru-RU" sz="1900" b="1" dirty="0" smtClean="0"/>
              <a:t> </a:t>
            </a:r>
            <a:r>
              <a:rPr lang="ru-RU" sz="1900" b="1" dirty="0"/>
              <a:t>Алексей Александрович, </a:t>
            </a:r>
            <a:r>
              <a:rPr lang="ru-RU" sz="1900" dirty="0"/>
              <a:t>начальник отдела создания и эксплуатации информационных систем управления информатизации министерства труда и социального развития Ростовской </a:t>
            </a:r>
            <a:r>
              <a:rPr lang="ru-RU" sz="1900" dirty="0" smtClean="0"/>
              <a:t>области</a:t>
            </a:r>
          </a:p>
          <a:p>
            <a:r>
              <a:rPr lang="ru-RU" sz="1900" dirty="0"/>
              <a:t>(863)264 84 12, </a:t>
            </a:r>
            <a:r>
              <a:rPr lang="en-US" sz="1900" u="sng" dirty="0" err="1">
                <a:hlinkClick r:id="rId5"/>
              </a:rPr>
              <a:t>alexl</a:t>
            </a:r>
            <a:r>
              <a:rPr lang="ru-RU" sz="1900" u="sng" dirty="0">
                <a:hlinkClick r:id="rId5"/>
              </a:rPr>
              <a:t>@</a:t>
            </a:r>
            <a:r>
              <a:rPr lang="en-US" sz="1900" u="sng" dirty="0">
                <a:hlinkClick r:id="rId5"/>
              </a:rPr>
              <a:t>protect</a:t>
            </a:r>
            <a:r>
              <a:rPr lang="ru-RU" sz="1900" u="sng" dirty="0">
                <a:hlinkClick r:id="rId5"/>
              </a:rPr>
              <a:t>.</a:t>
            </a:r>
            <a:r>
              <a:rPr lang="en-US" sz="1900" u="sng" dirty="0" err="1">
                <a:hlinkClick r:id="rId5"/>
              </a:rPr>
              <a:t>donpac</a:t>
            </a:r>
            <a:r>
              <a:rPr lang="ru-RU" sz="1900" u="sng" dirty="0">
                <a:hlinkClick r:id="rId5"/>
              </a:rPr>
              <a:t>.</a:t>
            </a:r>
            <a:r>
              <a:rPr lang="en-US" sz="1900" u="sng" dirty="0" err="1">
                <a:hlinkClick r:id="rId5"/>
              </a:rPr>
              <a:t>ru</a:t>
            </a:r>
            <a:endParaRPr lang="ru-RU" sz="1900" dirty="0" smtClean="0"/>
          </a:p>
          <a:p>
            <a:r>
              <a:rPr lang="ru-RU" sz="1900" b="1" dirty="0" err="1" smtClean="0"/>
              <a:t>Водолаго</a:t>
            </a:r>
            <a:r>
              <a:rPr lang="ru-RU" sz="1900" b="1" dirty="0" smtClean="0"/>
              <a:t> Сергей Павлович, </a:t>
            </a:r>
            <a:r>
              <a:rPr lang="ru-RU" sz="1900" dirty="0" smtClean="0"/>
              <a:t>главный специалист </a:t>
            </a:r>
            <a:r>
              <a:rPr lang="ru-RU" sz="1900" dirty="0"/>
              <a:t>отдела создания и эксплуатации информационных систем управления информатизации министерства труда и социального развития Ростовской </a:t>
            </a:r>
            <a:r>
              <a:rPr lang="ru-RU" sz="1900" dirty="0" smtClean="0"/>
              <a:t>области</a:t>
            </a:r>
          </a:p>
          <a:p>
            <a:r>
              <a:rPr lang="ru-RU" sz="1900" dirty="0"/>
              <a:t>(863)2</a:t>
            </a:r>
            <a:r>
              <a:rPr lang="en-US" sz="1900" dirty="0"/>
              <a:t>10 11 45</a:t>
            </a:r>
            <a:r>
              <a:rPr lang="ru-RU" sz="1900" dirty="0"/>
              <a:t>, </a:t>
            </a:r>
            <a:r>
              <a:rPr lang="en-US" sz="1900" u="sng" dirty="0" err="1">
                <a:hlinkClick r:id="rId6"/>
              </a:rPr>
              <a:t>vodolago</a:t>
            </a:r>
            <a:r>
              <a:rPr lang="ru-RU" sz="1900" u="sng" dirty="0">
                <a:hlinkClick r:id="rId6"/>
              </a:rPr>
              <a:t>@</a:t>
            </a:r>
            <a:r>
              <a:rPr lang="en-US" sz="1900" u="sng" dirty="0">
                <a:hlinkClick r:id="rId6"/>
              </a:rPr>
              <a:t>protect</a:t>
            </a:r>
            <a:r>
              <a:rPr lang="ru-RU" sz="1900" u="sng" dirty="0">
                <a:hlinkClick r:id="rId6"/>
              </a:rPr>
              <a:t>.</a:t>
            </a:r>
            <a:r>
              <a:rPr lang="en-US" sz="1900" u="sng" dirty="0" err="1">
                <a:hlinkClick r:id="rId6"/>
              </a:rPr>
              <a:t>donpac</a:t>
            </a:r>
            <a:r>
              <a:rPr lang="ru-RU" sz="1900" u="sng" dirty="0">
                <a:hlinkClick r:id="rId6"/>
              </a:rPr>
              <a:t>.</a:t>
            </a:r>
            <a:r>
              <a:rPr lang="en-US" sz="1900" u="sng" dirty="0" err="1">
                <a:hlinkClick r:id="rId6"/>
              </a:rPr>
              <a:t>ru</a:t>
            </a:r>
            <a:endParaRPr lang="ru-RU" sz="1900" dirty="0" smtClean="0"/>
          </a:p>
          <a:p>
            <a:r>
              <a:rPr lang="ru-RU" sz="1900" b="1" dirty="0" smtClean="0"/>
              <a:t>Фомина Анна Игоревна, </a:t>
            </a:r>
            <a:r>
              <a:rPr lang="ru-RU" sz="1900" dirty="0"/>
              <a:t>главный специалист отдела создания и эксплуатации информационных систем управления информатизации министерства труда и социального развития Ростовской </a:t>
            </a:r>
            <a:r>
              <a:rPr lang="ru-RU" sz="1900" dirty="0" smtClean="0"/>
              <a:t>области</a:t>
            </a:r>
          </a:p>
          <a:p>
            <a:r>
              <a:rPr lang="ru-RU" sz="1900" dirty="0"/>
              <a:t>(863)2</a:t>
            </a:r>
            <a:r>
              <a:rPr lang="en-US" sz="1900" dirty="0"/>
              <a:t>10 11 45</a:t>
            </a:r>
            <a:r>
              <a:rPr lang="ru-RU" sz="1900" dirty="0"/>
              <a:t>, </a:t>
            </a:r>
            <a:r>
              <a:rPr lang="en-US" sz="1900" u="sng" dirty="0" err="1">
                <a:hlinkClick r:id="rId7"/>
              </a:rPr>
              <a:t>uait</a:t>
            </a:r>
            <a:r>
              <a:rPr lang="ru-RU" sz="1900" u="sng" dirty="0">
                <a:hlinkClick r:id="rId7"/>
              </a:rPr>
              <a:t>@</a:t>
            </a:r>
            <a:r>
              <a:rPr lang="en-US" sz="1900" u="sng" dirty="0">
                <a:hlinkClick r:id="rId7"/>
              </a:rPr>
              <a:t>protect</a:t>
            </a:r>
            <a:r>
              <a:rPr lang="ru-RU" sz="1900" u="sng" dirty="0">
                <a:hlinkClick r:id="rId7"/>
              </a:rPr>
              <a:t>.</a:t>
            </a:r>
            <a:r>
              <a:rPr lang="en-US" sz="1900" u="sng" dirty="0" err="1">
                <a:hlinkClick r:id="rId7"/>
              </a:rPr>
              <a:t>donpac</a:t>
            </a:r>
            <a:r>
              <a:rPr lang="ru-RU" sz="1900" u="sng" dirty="0">
                <a:hlinkClick r:id="rId7"/>
              </a:rPr>
              <a:t>.</a:t>
            </a:r>
            <a:r>
              <a:rPr lang="en-US" sz="1900" u="sng" dirty="0" err="1">
                <a:hlinkClick r:id="rId7"/>
              </a:rPr>
              <a:t>ru</a:t>
            </a:r>
            <a:endParaRPr lang="ru-RU" sz="19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2347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BC29D85A-7961-1E4F-BA70-89C180D63C8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94019" y="614598"/>
            <a:ext cx="10088912" cy="5441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492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65175"/>
            <a:ext cx="9254836" cy="5940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рг. Модель</a:t>
            </a: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манда «</a:t>
            </a:r>
            <a:r>
              <a:rPr lang="ru-RU" sz="32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чётка</a:t>
            </a:r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лександр </a:t>
            </a:r>
            <a:r>
              <a:rPr lang="ru-RU" sz="28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истобородов</a:t>
            </a:r>
            <a:endParaRPr lang="ru-RU" sz="28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митрий </a:t>
            </a:r>
            <a:r>
              <a:rPr lang="ru-RU" sz="28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аврин</a:t>
            </a:r>
            <a:endParaRPr lang="ru-RU" sz="28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оман Некрасов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хаил Петров</a:t>
            </a:r>
          </a:p>
          <a:p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исок реципиентов: </a:t>
            </a:r>
            <a:r>
              <a:rPr lang="ru-RU" sz="24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Ростовской области, Министерство информационных технологий и связи Ростовской области, министерство труда и социального развития Ростовской области</a:t>
            </a: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исок акцепторов: </a:t>
            </a:r>
            <a:r>
              <a:rPr lang="ru-RU" sz="24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местители Губернатора Ростовской области, </a:t>
            </a:r>
            <a:r>
              <a:rPr lang="ru-RU" sz="24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урирующие сферу информационных технологий и социальной защиты</a:t>
            </a:r>
            <a:endParaRPr lang="ru-RU" sz="2400" dirty="0"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0153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65175"/>
            <a:ext cx="9254836" cy="55245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аемая проблема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3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ведение </a:t>
            </a:r>
            <a:r>
              <a:rPr lang="ru-RU" sz="23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ценки реального уровня и структуры бедности, анализа причин бедности граждан и семей, создание региональных реестров граждан с доходами ниже прожиточного </a:t>
            </a:r>
            <a:r>
              <a:rPr lang="ru-RU" sz="23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мума, а также граждан, находящихся в «группе риска»</a:t>
            </a:r>
            <a:r>
              <a:rPr lang="ru-RU" sz="2300" dirty="0" smtClean="0"/>
              <a:t> </a:t>
            </a:r>
            <a:r>
              <a:rPr lang="ru-RU" sz="2300" dirty="0"/>
              <a:t>– </a:t>
            </a:r>
            <a:r>
              <a:rPr lang="ru-RU" sz="23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е являющихся малоимущими и имеющих незначительно превышающий прожиточный минимум доход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3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витие </a:t>
            </a:r>
            <a:r>
              <a:rPr lang="ru-RU" sz="23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истемы социальной помощи и её предоставления исходя из принципов </a:t>
            </a:r>
            <a:r>
              <a:rPr lang="ru-RU" sz="23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ности и справедливости. </a:t>
            </a:r>
          </a:p>
          <a:p>
            <a:endParaRPr lang="ru-RU" sz="32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аемая задача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300" dirty="0" smtClean="0"/>
              <a:t>Получение инструментария и дополнительных данных для более глубокого и полного анализа </a:t>
            </a:r>
            <a:r>
              <a:rPr lang="ru-RU" sz="2300" dirty="0"/>
              <a:t>профиля бедного гражданина и бедной семьи в </a:t>
            </a:r>
            <a:r>
              <a:rPr lang="ru-RU" sz="2300" dirty="0" smtClean="0"/>
              <a:t>регионе</a:t>
            </a:r>
            <a:endParaRPr lang="ru-RU" sz="23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11338" y="4800599"/>
            <a:ext cx="886618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2048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33267" y="62414"/>
            <a:ext cx="10830133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исание решения</a:t>
            </a:r>
          </a:p>
          <a:p>
            <a:r>
              <a:rPr lang="ru-RU" sz="1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r>
              <a:rPr lang="ru-RU" sz="25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нализ </a:t>
            </a:r>
            <a:r>
              <a:rPr lang="ru-RU" sz="2500" dirty="0" err="1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атасета</a:t>
            </a:r>
            <a:r>
              <a:rPr lang="ru-RU" sz="25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25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en-US" sz="2500" dirty="0" err="1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gdata</a:t>
            </a:r>
            <a:r>
              <a:rPr lang="ru-RU" sz="25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 </a:t>
            </a:r>
            <a:r>
              <a:rPr lang="ru-RU" sz="25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тодами обработки </a:t>
            </a:r>
            <a:r>
              <a:rPr lang="ru-RU" sz="2500" dirty="0" err="1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еоданных</a:t>
            </a:r>
            <a:r>
              <a:rPr lang="ru-RU" sz="25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</a:t>
            </a:r>
            <a:r>
              <a:rPr lang="ru-RU" sz="2500" dirty="0" err="1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аверсинуса</a:t>
            </a:r>
            <a:r>
              <a:rPr lang="ru-RU" sz="25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, построение «</a:t>
            </a:r>
            <a:r>
              <a:rPr lang="ru-RU" sz="2500" dirty="0" err="1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ашборда</a:t>
            </a:r>
            <a:r>
              <a:rPr lang="ru-RU" sz="25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 на основании </a:t>
            </a:r>
            <a:r>
              <a:rPr lang="en-US" sz="2500" dirty="0" err="1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gdata</a:t>
            </a:r>
            <a:r>
              <a:rPr lang="ru-RU" sz="25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консолидированной из информации от </a:t>
            </a:r>
            <a:r>
              <a:rPr lang="ru-RU" sz="25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ераторов </a:t>
            </a:r>
            <a:r>
              <a:rPr lang="ru-RU" sz="25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вязи и </a:t>
            </a:r>
            <a:r>
              <a:rPr lang="ru-RU" sz="25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едомственной </a:t>
            </a:r>
            <a:r>
              <a:rPr lang="ru-RU" sz="25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формационной системы </a:t>
            </a:r>
            <a:r>
              <a:rPr lang="ru-RU" sz="2500" dirty="0" err="1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труда</a:t>
            </a:r>
            <a:r>
              <a:rPr lang="ru-RU" sz="25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области</a:t>
            </a:r>
            <a:r>
              <a:rPr lang="ru-RU" sz="25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endParaRPr lang="ru-RU" sz="2500" dirty="0"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AutoShape 2" descr="blob:https://web.telegram.org/2618e38f-a497-4065-8c08-383f9f0fe3e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535" y="2463785"/>
            <a:ext cx="6835239" cy="388619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11341" y="2616373"/>
            <a:ext cx="5350933" cy="1765128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07202" y="4307935"/>
            <a:ext cx="5173132" cy="1677986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3"/>
          <a:stretch/>
        </p:blipFill>
        <p:spPr>
          <a:xfrm>
            <a:off x="1524000" y="3498937"/>
            <a:ext cx="1326878" cy="132926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Скругленная прямоугольная выноска 8"/>
          <p:cNvSpPr/>
          <p:nvPr/>
        </p:nvSpPr>
        <p:spPr>
          <a:xfrm>
            <a:off x="1261526" y="6112934"/>
            <a:ext cx="10100748" cy="618065"/>
          </a:xfrm>
          <a:prstGeom prst="wedgeRoundRectCallout">
            <a:avLst>
              <a:gd name="adj1" fmla="val -19952"/>
              <a:gd name="adj2" fmla="val -111473"/>
              <a:gd name="adj3" fmla="val 16667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Согласно полученной карте можно сделать вывод, что наиболее бедные районе находятся на северо-востоке области, что обусловлено удалённостью от административного центра области, безводным климатом, малочисленностью населения на км</a:t>
            </a:r>
            <a:r>
              <a:rPr lang="ru-RU" sz="1400" baseline="30000" dirty="0" smtClean="0"/>
              <a:t>2</a:t>
            </a:r>
            <a:endParaRPr lang="ru-RU" sz="1400" baseline="30000" dirty="0"/>
          </a:p>
        </p:txBody>
      </p:sp>
    </p:spTree>
    <p:extLst>
      <p:ext uri="{BB962C8B-B14F-4D97-AF65-F5344CB8AC3E}">
        <p14:creationId xmlns:p14="http://schemas.microsoft.com/office/powerpoint/2010/main" val="1145207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33267" y="384160"/>
            <a:ext cx="108301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ути исправления ситуации к лучшему</a:t>
            </a:r>
            <a:endParaRPr lang="ru-RU" sz="36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3" name="AutoShape 2" descr="blob:https://web.telegram.org/2618e38f-a497-4065-8c08-383f9f0fe3e1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1484"/>
          <a:stretch/>
        </p:blipFill>
        <p:spPr>
          <a:xfrm>
            <a:off x="5615287" y="1566337"/>
            <a:ext cx="6407379" cy="463973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4023391339"/>
              </p:ext>
            </p:extLst>
          </p:nvPr>
        </p:nvGraphicFramePr>
        <p:xfrm>
          <a:off x="575723" y="1301845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095901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93800" y="446676"/>
            <a:ext cx="10896600" cy="72943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рожная карта </a:t>
            </a:r>
            <a:r>
              <a:rPr lang="ru-RU" sz="3600" dirty="0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Раз, Два, Три»</a:t>
            </a:r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лючевые этапы внедрения и контрольные точки</a:t>
            </a:r>
          </a:p>
          <a:p>
            <a:endParaRPr lang="ru-RU" sz="36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6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6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6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еобходимые ресурс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ля развёртывания решения </a:t>
            </a:r>
            <a:r>
              <a:rPr lang="ru-RU" sz="20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была использована имеющиеся программно-аппаратная платформа министерства труда и социального развития Ростовской </a:t>
            </a:r>
            <a:r>
              <a:rPr lang="ru-RU" sz="2000" dirty="0" err="1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алсти</a:t>
            </a:r>
            <a:r>
              <a:rPr lang="ru-RU" sz="20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ение </a:t>
            </a:r>
            <a:r>
              <a:rPr lang="ru-RU" sz="2000" dirty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базируется на бесплатном, свободно распространяемом программном обеспечении</a:t>
            </a:r>
            <a:r>
              <a:rPr lang="ru-RU" sz="20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рудозатраты связанные с формированием массива данных </a:t>
            </a:r>
            <a:r>
              <a:rPr lang="en-US" sz="20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dataset)</a:t>
            </a:r>
            <a:br>
              <a:rPr lang="en-US" sz="20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 его</a:t>
            </a:r>
            <a:r>
              <a:rPr lang="en-US" sz="20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2000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изуализаци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ыделение финансовых </a:t>
            </a:r>
            <a:r>
              <a:rPr lang="ru-RU" sz="2000" dirty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редств не </a:t>
            </a:r>
            <a:r>
              <a:rPr lang="ru-RU" sz="2000" dirty="0" smtClean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требовалось!</a:t>
            </a:r>
            <a:endParaRPr lang="ru-RU" sz="2000" dirty="0">
              <a:solidFill>
                <a:srgbClr val="C00000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6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2078078838"/>
              </p:ext>
            </p:extLst>
          </p:nvPr>
        </p:nvGraphicFramePr>
        <p:xfrm>
          <a:off x="275775" y="1972703"/>
          <a:ext cx="11831552" cy="1439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99367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40522" y="446676"/>
            <a:ext cx="9752012" cy="73558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рожная карта </a:t>
            </a:r>
            <a:r>
              <a:rPr lang="ru-RU" sz="3600" dirty="0">
                <a:solidFill>
                  <a:srgbClr val="C00000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Раз, Два, Три»</a:t>
            </a:r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05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36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ремя на реализацию</a:t>
            </a:r>
          </a:p>
          <a:p>
            <a:endParaRPr lang="ru-RU" sz="36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6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2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ечень </a:t>
            </a:r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ПА </a:t>
            </a:r>
            <a:b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dirty="0" smtClean="0"/>
              <a:t>В настоящее время, при текущей реализации задачи,  внесение изменений в НПА не потребовалось.</a:t>
            </a:r>
          </a:p>
          <a:p>
            <a:r>
              <a:rPr lang="ru-RU" sz="3200" dirty="0" smtClean="0">
                <a:solidFill>
                  <a:srgbClr val="C00000"/>
                </a:solidFill>
              </a:rPr>
              <a:t>В то же время назрела необходимость получения сведений от федеральных ведомств, для чего необходимо заключение соглашений об электронном взаимодействии на федеральном уровне!</a:t>
            </a:r>
            <a:endParaRPr lang="ru-RU" sz="2000" dirty="0">
              <a:solidFill>
                <a:srgbClr val="C00000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6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4080866153"/>
              </p:ext>
            </p:extLst>
          </p:nvPr>
        </p:nvGraphicFramePr>
        <p:xfrm>
          <a:off x="258848" y="1811842"/>
          <a:ext cx="11831552" cy="14393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258848" y="1811842"/>
            <a:ext cx="11831552" cy="1439306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601129" y="1854187"/>
            <a:ext cx="36152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8 часов</a:t>
            </a:r>
            <a:endParaRPr lang="ru-RU" sz="7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917339" y="1896658"/>
            <a:ext cx="27788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 часа</a:t>
            </a:r>
            <a:endParaRPr lang="ru-RU" sz="7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170339" y="1879724"/>
            <a:ext cx="367453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 часов</a:t>
            </a:r>
            <a:endParaRPr lang="ru-RU" sz="7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7945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427243" y="455143"/>
            <a:ext cx="97520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теграция решения в административные процессы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10603" y="4030134"/>
            <a:ext cx="3277921" cy="267546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32036" y="5087715"/>
            <a:ext cx="4428068" cy="1457030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486522" y="1107065"/>
            <a:ext cx="9752012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200" dirty="0" smtClean="0"/>
          </a:p>
          <a:p>
            <a:r>
              <a:rPr lang="ru-RU" sz="4000" dirty="0" smtClean="0">
                <a:solidFill>
                  <a:srgbClr val="C00000"/>
                </a:solidFill>
              </a:rPr>
              <a:t>Передача данных в управление службы занятости для корректировки финансирования муниципальным образованиям на организацию профессиональной переподготовки соискателей вакансий</a:t>
            </a:r>
          </a:p>
          <a:p>
            <a:endParaRPr lang="ru-RU" sz="36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0366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DATAMASTERS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28</TotalTime>
  <Words>1072</Words>
  <Application>Microsoft Office PowerPoint</Application>
  <PresentationFormat>Произвольный</PresentationFormat>
  <Paragraphs>144</Paragraphs>
  <Slides>2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8" baseType="lpstr">
      <vt:lpstr>Arial</vt:lpstr>
      <vt:lpstr>Open Sans</vt:lpstr>
      <vt:lpstr>Trebuchet MS</vt:lpstr>
      <vt:lpstr>Calibri</vt:lpstr>
      <vt:lpstr>DATAMASTERS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user</cp:lastModifiedBy>
  <cp:revision>207</cp:revision>
  <dcterms:created xsi:type="dcterms:W3CDTF">2019-05-13T16:08:50Z</dcterms:created>
  <dcterms:modified xsi:type="dcterms:W3CDTF">2019-12-23T09:08:02Z</dcterms:modified>
</cp:coreProperties>
</file>